
<file path=[Content_Types].xml><?xml version="1.0" encoding="utf-8"?>
<Types xmlns="http://schemas.openxmlformats.org/package/2006/content-types">
  <Default Extension="png" ContentType="image/png"/>
  <Default Extension="bin" ContentType="application/vnd.openxmlformats-officedocument.oleObject"/>
  <Default Extension="jfif" ContentType="image/jpeg"/>
  <Default Extension="svg" ContentType="image/svg+xml"/>
  <Default Extension="jpeg" ContentType="image/jpe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3.xml" ContentType="application/vnd.openxmlformats-officedocument.presentationml.tags+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8"/>
  </p:notesMasterIdLst>
  <p:handoutMasterIdLst>
    <p:handoutMasterId r:id="rId19"/>
  </p:handoutMasterIdLst>
  <p:sldIdLst>
    <p:sldId id="258" r:id="rId2"/>
    <p:sldId id="371" r:id="rId3"/>
    <p:sldId id="301" r:id="rId4"/>
    <p:sldId id="374" r:id="rId5"/>
    <p:sldId id="375" r:id="rId6"/>
    <p:sldId id="376" r:id="rId7"/>
    <p:sldId id="364" r:id="rId8"/>
    <p:sldId id="381" r:id="rId9"/>
    <p:sldId id="372" r:id="rId10"/>
    <p:sldId id="382" r:id="rId11"/>
    <p:sldId id="383" r:id="rId12"/>
    <p:sldId id="385" r:id="rId13"/>
    <p:sldId id="379" r:id="rId14"/>
    <p:sldId id="370" r:id="rId15"/>
    <p:sldId id="377" r:id="rId16"/>
    <p:sldId id="284" r:id="rId1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092"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AEDC"/>
    <a:srgbClr val="B5E9D0"/>
    <a:srgbClr val="95DFBC"/>
    <a:srgbClr val="ED8D2F"/>
    <a:srgbClr val="1EC08A"/>
    <a:srgbClr val="4BC5DE"/>
    <a:srgbClr val="E6E6E6"/>
    <a:srgbClr val="84ECC9"/>
    <a:srgbClr val="0356B1"/>
    <a:srgbClr val="024E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45" autoAdjust="0"/>
    <p:restoredTop sz="79533" autoAdjust="0"/>
  </p:normalViewPr>
  <p:slideViewPr>
    <p:cSldViewPr snapToGrid="0">
      <p:cViewPr varScale="1">
        <p:scale>
          <a:sx n="54" d="100"/>
          <a:sy n="54" d="100"/>
        </p:scale>
        <p:origin x="162" y="72"/>
      </p:cViewPr>
      <p:guideLst>
        <p:guide orient="horz" pos="2092"/>
        <p:guide pos="3840"/>
      </p:guideLst>
    </p:cSldViewPr>
  </p:slideViewPr>
  <p:outlineViewPr>
    <p:cViewPr>
      <p:scale>
        <a:sx n="33" d="100"/>
        <a:sy n="33" d="100"/>
      </p:scale>
      <p:origin x="0" y="-4272"/>
    </p:cViewPr>
  </p:outlineViewPr>
  <p:notesTextViewPr>
    <p:cViewPr>
      <p:scale>
        <a:sx n="3" d="2"/>
        <a:sy n="3" d="2"/>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handoutMaster" Target="handoutMasters/handout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5555D71-C669-40B9-B176-1DC8B5BC7FDA}" type="doc">
      <dgm:prSet loTypeId="urn:microsoft.com/office/officeart/2005/8/layout/vList2" loCatId="list" qsTypeId="urn:microsoft.com/office/officeart/2005/8/quickstyle/3d1" qsCatId="3D" csTypeId="urn:microsoft.com/office/officeart/2005/8/colors/colorful1" csCatId="colorful" phldr="1"/>
      <dgm:spPr/>
      <dgm:t>
        <a:bodyPr/>
        <a:lstStyle/>
        <a:p>
          <a:endParaRPr lang="en-US"/>
        </a:p>
      </dgm:t>
    </dgm:pt>
    <dgm:pt modelId="{7DA84C61-5D04-4D32-BFB6-E2823DD57B71}">
      <dgm:prSet phldrT="[Text]"/>
      <dgm:spPr>
        <a:solidFill>
          <a:schemeClr val="accent1"/>
        </a:solidFill>
      </dgm:spPr>
      <dgm:t>
        <a:bodyPr/>
        <a:lstStyle/>
        <a:p>
          <a:r>
            <a:rPr lang="en-US" dirty="0" smtClean="0"/>
            <a:t>Data Governance Act</a:t>
          </a:r>
          <a:endParaRPr lang="en-US" dirty="0"/>
        </a:p>
      </dgm:t>
    </dgm:pt>
    <dgm:pt modelId="{988C6676-41AA-4406-86A1-6262AFB0EC41}" type="parTrans" cxnId="{46E9BD34-3DB1-432A-A170-A8B5498A9088}">
      <dgm:prSet/>
      <dgm:spPr/>
      <dgm:t>
        <a:bodyPr/>
        <a:lstStyle/>
        <a:p>
          <a:endParaRPr lang="en-US"/>
        </a:p>
      </dgm:t>
    </dgm:pt>
    <dgm:pt modelId="{CF584C12-A01B-48EE-8DE3-076136223FFA}" type="sibTrans" cxnId="{46E9BD34-3DB1-432A-A170-A8B5498A9088}">
      <dgm:prSet/>
      <dgm:spPr/>
      <dgm:t>
        <a:bodyPr/>
        <a:lstStyle/>
        <a:p>
          <a:endParaRPr lang="en-US"/>
        </a:p>
      </dgm:t>
    </dgm:pt>
    <dgm:pt modelId="{950450F5-0BAA-4413-BB26-B7E089F94991}">
      <dgm:prSet phldrT="[Text]"/>
      <dgm:spPr>
        <a:solidFill>
          <a:schemeClr val="accent2"/>
        </a:solidFill>
      </dgm:spPr>
      <dgm:t>
        <a:bodyPr/>
        <a:lstStyle/>
        <a:p>
          <a:r>
            <a:rPr lang="en-US" dirty="0" smtClean="0"/>
            <a:t>High-Value Datasets</a:t>
          </a:r>
          <a:endParaRPr lang="en-US" dirty="0"/>
        </a:p>
      </dgm:t>
    </dgm:pt>
    <dgm:pt modelId="{0C0383E9-CC68-4677-A1A7-006E6257E343}" type="parTrans" cxnId="{249700D5-C85F-41F4-A7A1-4B7C668CF804}">
      <dgm:prSet/>
      <dgm:spPr/>
      <dgm:t>
        <a:bodyPr/>
        <a:lstStyle/>
        <a:p>
          <a:endParaRPr lang="en-US"/>
        </a:p>
      </dgm:t>
    </dgm:pt>
    <dgm:pt modelId="{1DD362E5-E52D-42AA-A4F5-895EF7749905}" type="sibTrans" cxnId="{249700D5-C85F-41F4-A7A1-4B7C668CF804}">
      <dgm:prSet/>
      <dgm:spPr/>
      <dgm:t>
        <a:bodyPr/>
        <a:lstStyle/>
        <a:p>
          <a:endParaRPr lang="en-US"/>
        </a:p>
      </dgm:t>
    </dgm:pt>
    <dgm:pt modelId="{3A11BF8A-B61E-4FB2-80B6-CD1CD47B15EC}">
      <dgm:prSet phldrT="[Text]"/>
      <dgm:spPr>
        <a:solidFill>
          <a:schemeClr val="tx2"/>
        </a:solidFill>
      </dgm:spPr>
      <dgm:t>
        <a:bodyPr/>
        <a:lstStyle/>
        <a:p>
          <a:r>
            <a:rPr lang="en-US" dirty="0" smtClean="0"/>
            <a:t>Data Act</a:t>
          </a:r>
          <a:endParaRPr lang="en-US" dirty="0"/>
        </a:p>
      </dgm:t>
    </dgm:pt>
    <dgm:pt modelId="{90305041-FC97-4A43-9626-CDE668258334}" type="parTrans" cxnId="{3736C790-2FDD-47EA-A575-2A3EEDED7567}">
      <dgm:prSet/>
      <dgm:spPr/>
      <dgm:t>
        <a:bodyPr/>
        <a:lstStyle/>
        <a:p>
          <a:endParaRPr lang="en-US"/>
        </a:p>
      </dgm:t>
    </dgm:pt>
    <dgm:pt modelId="{56F5D07E-EECB-44D4-8550-00B0544F5CC2}" type="sibTrans" cxnId="{3736C790-2FDD-47EA-A575-2A3EEDED7567}">
      <dgm:prSet/>
      <dgm:spPr/>
      <dgm:t>
        <a:bodyPr/>
        <a:lstStyle/>
        <a:p>
          <a:endParaRPr lang="en-US"/>
        </a:p>
      </dgm:t>
    </dgm:pt>
    <dgm:pt modelId="{AE60871B-3892-4A04-B114-877F4092B439}">
      <dgm:prSet phldrT="[Text]"/>
      <dgm:spPr/>
      <dgm:t>
        <a:bodyPr/>
        <a:lstStyle/>
        <a:p>
          <a:r>
            <a:rPr lang="en-US" dirty="0" smtClean="0"/>
            <a:t>25 Nov 2020</a:t>
          </a:r>
          <a:endParaRPr lang="en-US" dirty="0"/>
        </a:p>
      </dgm:t>
    </dgm:pt>
    <dgm:pt modelId="{6E3BECA7-125E-41A8-8B47-1BE18E96677D}" type="parTrans" cxnId="{39C32355-3EA9-4874-A02F-96A1ABF77F39}">
      <dgm:prSet/>
      <dgm:spPr/>
      <dgm:t>
        <a:bodyPr/>
        <a:lstStyle/>
        <a:p>
          <a:endParaRPr lang="en-US"/>
        </a:p>
      </dgm:t>
    </dgm:pt>
    <dgm:pt modelId="{7A329FA1-719D-4F69-958A-9901FF9F505C}" type="sibTrans" cxnId="{39C32355-3EA9-4874-A02F-96A1ABF77F39}">
      <dgm:prSet/>
      <dgm:spPr/>
      <dgm:t>
        <a:bodyPr/>
        <a:lstStyle/>
        <a:p>
          <a:endParaRPr lang="en-US"/>
        </a:p>
      </dgm:t>
    </dgm:pt>
    <dgm:pt modelId="{E1D7B8B8-6811-4BC2-8658-F41530E85AF5}">
      <dgm:prSet phldrT="[Text]"/>
      <dgm:spPr/>
      <dgm:t>
        <a:bodyPr/>
        <a:lstStyle/>
        <a:p>
          <a:r>
            <a:rPr lang="en-US" dirty="0" smtClean="0"/>
            <a:t>2</a:t>
          </a:r>
          <a:r>
            <a:rPr lang="en-US" baseline="30000" dirty="0" smtClean="0"/>
            <a:t>nd </a:t>
          </a:r>
          <a:r>
            <a:rPr lang="en-US" dirty="0" smtClean="0"/>
            <a:t>Quarter 2022</a:t>
          </a:r>
          <a:endParaRPr lang="en-US" dirty="0"/>
        </a:p>
      </dgm:t>
    </dgm:pt>
    <dgm:pt modelId="{F90325C8-5CC3-4752-831D-F32B7A9AD18A}" type="parTrans" cxnId="{DAB7C9D8-BA46-4834-A043-7EE0334A50D1}">
      <dgm:prSet/>
      <dgm:spPr/>
      <dgm:t>
        <a:bodyPr/>
        <a:lstStyle/>
        <a:p>
          <a:endParaRPr lang="en-US"/>
        </a:p>
      </dgm:t>
    </dgm:pt>
    <dgm:pt modelId="{2919943D-9C8C-4F89-8DBC-559EA9218F2A}" type="sibTrans" cxnId="{DAB7C9D8-BA46-4834-A043-7EE0334A50D1}">
      <dgm:prSet/>
      <dgm:spPr/>
      <dgm:t>
        <a:bodyPr/>
        <a:lstStyle/>
        <a:p>
          <a:endParaRPr lang="en-US"/>
        </a:p>
      </dgm:t>
    </dgm:pt>
    <dgm:pt modelId="{BDDA84AA-44B7-40F2-A7D0-2180379177A8}">
      <dgm:prSet phldrT="[Text]"/>
      <dgm:spPr/>
      <dgm:t>
        <a:bodyPr/>
        <a:lstStyle/>
        <a:p>
          <a:r>
            <a:rPr lang="en-US" dirty="0" smtClean="0"/>
            <a:t>Proposal released on 23 Feb 2022</a:t>
          </a:r>
          <a:endParaRPr lang="en-US" dirty="0"/>
        </a:p>
      </dgm:t>
    </dgm:pt>
    <dgm:pt modelId="{F6932AEC-D6FB-40E5-9D68-BE73688B35A3}" type="parTrans" cxnId="{252A3DDE-973A-4075-814A-815772BC1473}">
      <dgm:prSet/>
      <dgm:spPr/>
      <dgm:t>
        <a:bodyPr/>
        <a:lstStyle/>
        <a:p>
          <a:endParaRPr lang="en-US"/>
        </a:p>
      </dgm:t>
    </dgm:pt>
    <dgm:pt modelId="{4E05A20A-6688-47BE-93CE-AE3910BA9C24}" type="sibTrans" cxnId="{252A3DDE-973A-4075-814A-815772BC1473}">
      <dgm:prSet/>
      <dgm:spPr/>
      <dgm:t>
        <a:bodyPr/>
        <a:lstStyle/>
        <a:p>
          <a:endParaRPr lang="en-US"/>
        </a:p>
      </dgm:t>
    </dgm:pt>
    <dgm:pt modelId="{C138A91E-B6E7-4062-8A57-4C4A524B3EA9}" type="pres">
      <dgm:prSet presAssocID="{85555D71-C669-40B9-B176-1DC8B5BC7FDA}" presName="linear" presStyleCnt="0">
        <dgm:presLayoutVars>
          <dgm:animLvl val="lvl"/>
          <dgm:resizeHandles val="exact"/>
        </dgm:presLayoutVars>
      </dgm:prSet>
      <dgm:spPr/>
      <dgm:t>
        <a:bodyPr/>
        <a:lstStyle/>
        <a:p>
          <a:endParaRPr lang="en-US"/>
        </a:p>
      </dgm:t>
    </dgm:pt>
    <dgm:pt modelId="{7803E006-ECFE-4BEA-BC4C-CE12D39CC6EA}" type="pres">
      <dgm:prSet presAssocID="{7DA84C61-5D04-4D32-BFB6-E2823DD57B71}" presName="parentText" presStyleLbl="node1" presStyleIdx="0" presStyleCnt="3">
        <dgm:presLayoutVars>
          <dgm:chMax val="0"/>
          <dgm:bulletEnabled val="1"/>
        </dgm:presLayoutVars>
      </dgm:prSet>
      <dgm:spPr/>
      <dgm:t>
        <a:bodyPr/>
        <a:lstStyle/>
        <a:p>
          <a:endParaRPr lang="en-US"/>
        </a:p>
      </dgm:t>
    </dgm:pt>
    <dgm:pt modelId="{0BF25953-F53C-4A7F-A4AC-EF932C9C13DA}" type="pres">
      <dgm:prSet presAssocID="{7DA84C61-5D04-4D32-BFB6-E2823DD57B71}" presName="childText" presStyleLbl="revTx" presStyleIdx="0" presStyleCnt="3">
        <dgm:presLayoutVars>
          <dgm:bulletEnabled val="1"/>
        </dgm:presLayoutVars>
      </dgm:prSet>
      <dgm:spPr/>
      <dgm:t>
        <a:bodyPr/>
        <a:lstStyle/>
        <a:p>
          <a:endParaRPr lang="en-US"/>
        </a:p>
      </dgm:t>
    </dgm:pt>
    <dgm:pt modelId="{E0E56B3B-8C90-4E89-B671-4EA707AE2FA0}" type="pres">
      <dgm:prSet presAssocID="{950450F5-0BAA-4413-BB26-B7E089F94991}" presName="parentText" presStyleLbl="node1" presStyleIdx="1" presStyleCnt="3">
        <dgm:presLayoutVars>
          <dgm:chMax val="0"/>
          <dgm:bulletEnabled val="1"/>
        </dgm:presLayoutVars>
      </dgm:prSet>
      <dgm:spPr/>
      <dgm:t>
        <a:bodyPr/>
        <a:lstStyle/>
        <a:p>
          <a:endParaRPr lang="en-US"/>
        </a:p>
      </dgm:t>
    </dgm:pt>
    <dgm:pt modelId="{EEE1A241-6DC6-4804-9B3F-64BDDC58C4F0}" type="pres">
      <dgm:prSet presAssocID="{950450F5-0BAA-4413-BB26-B7E089F94991}" presName="childText" presStyleLbl="revTx" presStyleIdx="1" presStyleCnt="3">
        <dgm:presLayoutVars>
          <dgm:bulletEnabled val="1"/>
        </dgm:presLayoutVars>
      </dgm:prSet>
      <dgm:spPr/>
      <dgm:t>
        <a:bodyPr/>
        <a:lstStyle/>
        <a:p>
          <a:endParaRPr lang="en-US"/>
        </a:p>
      </dgm:t>
    </dgm:pt>
    <dgm:pt modelId="{4D641451-AC58-4616-B51E-DC126D867355}" type="pres">
      <dgm:prSet presAssocID="{3A11BF8A-B61E-4FB2-80B6-CD1CD47B15EC}" presName="parentText" presStyleLbl="node1" presStyleIdx="2" presStyleCnt="3">
        <dgm:presLayoutVars>
          <dgm:chMax val="0"/>
          <dgm:bulletEnabled val="1"/>
        </dgm:presLayoutVars>
      </dgm:prSet>
      <dgm:spPr/>
      <dgm:t>
        <a:bodyPr/>
        <a:lstStyle/>
        <a:p>
          <a:endParaRPr lang="en-US"/>
        </a:p>
      </dgm:t>
    </dgm:pt>
    <dgm:pt modelId="{2108E9A4-9A2D-46CD-8BD9-C9629147ED99}" type="pres">
      <dgm:prSet presAssocID="{3A11BF8A-B61E-4FB2-80B6-CD1CD47B15EC}" presName="childText" presStyleLbl="revTx" presStyleIdx="2" presStyleCnt="3">
        <dgm:presLayoutVars>
          <dgm:bulletEnabled val="1"/>
        </dgm:presLayoutVars>
      </dgm:prSet>
      <dgm:spPr/>
      <dgm:t>
        <a:bodyPr/>
        <a:lstStyle/>
        <a:p>
          <a:endParaRPr lang="en-US"/>
        </a:p>
      </dgm:t>
    </dgm:pt>
  </dgm:ptLst>
  <dgm:cxnLst>
    <dgm:cxn modelId="{560B8814-2017-4C29-8E0B-BE00FE45351E}" type="presOf" srcId="{BDDA84AA-44B7-40F2-A7D0-2180379177A8}" destId="{2108E9A4-9A2D-46CD-8BD9-C9629147ED99}" srcOrd="0" destOrd="0" presId="urn:microsoft.com/office/officeart/2005/8/layout/vList2"/>
    <dgm:cxn modelId="{3736C790-2FDD-47EA-A575-2A3EEDED7567}" srcId="{85555D71-C669-40B9-B176-1DC8B5BC7FDA}" destId="{3A11BF8A-B61E-4FB2-80B6-CD1CD47B15EC}" srcOrd="2" destOrd="0" parTransId="{90305041-FC97-4A43-9626-CDE668258334}" sibTransId="{56F5D07E-EECB-44D4-8550-00B0544F5CC2}"/>
    <dgm:cxn modelId="{7DD7C3D3-8276-4A08-9751-E96B61E0F95F}" type="presOf" srcId="{950450F5-0BAA-4413-BB26-B7E089F94991}" destId="{E0E56B3B-8C90-4E89-B671-4EA707AE2FA0}" srcOrd="0" destOrd="0" presId="urn:microsoft.com/office/officeart/2005/8/layout/vList2"/>
    <dgm:cxn modelId="{B8CE8759-3669-4518-BEF9-CD3B539B8623}" type="presOf" srcId="{E1D7B8B8-6811-4BC2-8658-F41530E85AF5}" destId="{EEE1A241-6DC6-4804-9B3F-64BDDC58C4F0}" srcOrd="0" destOrd="0" presId="urn:microsoft.com/office/officeart/2005/8/layout/vList2"/>
    <dgm:cxn modelId="{39C32355-3EA9-4874-A02F-96A1ABF77F39}" srcId="{7DA84C61-5D04-4D32-BFB6-E2823DD57B71}" destId="{AE60871B-3892-4A04-B114-877F4092B439}" srcOrd="0" destOrd="0" parTransId="{6E3BECA7-125E-41A8-8B47-1BE18E96677D}" sibTransId="{7A329FA1-719D-4F69-958A-9901FF9F505C}"/>
    <dgm:cxn modelId="{46E9BD34-3DB1-432A-A170-A8B5498A9088}" srcId="{85555D71-C669-40B9-B176-1DC8B5BC7FDA}" destId="{7DA84C61-5D04-4D32-BFB6-E2823DD57B71}" srcOrd="0" destOrd="0" parTransId="{988C6676-41AA-4406-86A1-6262AFB0EC41}" sibTransId="{CF584C12-A01B-48EE-8DE3-076136223FFA}"/>
    <dgm:cxn modelId="{249700D5-C85F-41F4-A7A1-4B7C668CF804}" srcId="{85555D71-C669-40B9-B176-1DC8B5BC7FDA}" destId="{950450F5-0BAA-4413-BB26-B7E089F94991}" srcOrd="1" destOrd="0" parTransId="{0C0383E9-CC68-4677-A1A7-006E6257E343}" sibTransId="{1DD362E5-E52D-42AA-A4F5-895EF7749905}"/>
    <dgm:cxn modelId="{119C1674-2172-4E93-8DF8-DB8A9102A7A6}" type="presOf" srcId="{3A11BF8A-B61E-4FB2-80B6-CD1CD47B15EC}" destId="{4D641451-AC58-4616-B51E-DC126D867355}" srcOrd="0" destOrd="0" presId="urn:microsoft.com/office/officeart/2005/8/layout/vList2"/>
    <dgm:cxn modelId="{893E4C6F-DA79-427D-BD35-4D7907F91460}" type="presOf" srcId="{AE60871B-3892-4A04-B114-877F4092B439}" destId="{0BF25953-F53C-4A7F-A4AC-EF932C9C13DA}" srcOrd="0" destOrd="0" presId="urn:microsoft.com/office/officeart/2005/8/layout/vList2"/>
    <dgm:cxn modelId="{39BCA949-DC82-48CE-9C94-B2664F3D6B86}" type="presOf" srcId="{7DA84C61-5D04-4D32-BFB6-E2823DD57B71}" destId="{7803E006-ECFE-4BEA-BC4C-CE12D39CC6EA}" srcOrd="0" destOrd="0" presId="urn:microsoft.com/office/officeart/2005/8/layout/vList2"/>
    <dgm:cxn modelId="{2811B9BB-E70F-4898-B2F4-3750922D4B90}" type="presOf" srcId="{85555D71-C669-40B9-B176-1DC8B5BC7FDA}" destId="{C138A91E-B6E7-4062-8A57-4C4A524B3EA9}" srcOrd="0" destOrd="0" presId="urn:microsoft.com/office/officeart/2005/8/layout/vList2"/>
    <dgm:cxn modelId="{252A3DDE-973A-4075-814A-815772BC1473}" srcId="{3A11BF8A-B61E-4FB2-80B6-CD1CD47B15EC}" destId="{BDDA84AA-44B7-40F2-A7D0-2180379177A8}" srcOrd="0" destOrd="0" parTransId="{F6932AEC-D6FB-40E5-9D68-BE73688B35A3}" sibTransId="{4E05A20A-6688-47BE-93CE-AE3910BA9C24}"/>
    <dgm:cxn modelId="{DAB7C9D8-BA46-4834-A043-7EE0334A50D1}" srcId="{950450F5-0BAA-4413-BB26-B7E089F94991}" destId="{E1D7B8B8-6811-4BC2-8658-F41530E85AF5}" srcOrd="0" destOrd="0" parTransId="{F90325C8-5CC3-4752-831D-F32B7A9AD18A}" sibTransId="{2919943D-9C8C-4F89-8DBC-559EA9218F2A}"/>
    <dgm:cxn modelId="{0AC81B01-E868-41CF-9E71-4A00821B5095}" type="presParOf" srcId="{C138A91E-B6E7-4062-8A57-4C4A524B3EA9}" destId="{7803E006-ECFE-4BEA-BC4C-CE12D39CC6EA}" srcOrd="0" destOrd="0" presId="urn:microsoft.com/office/officeart/2005/8/layout/vList2"/>
    <dgm:cxn modelId="{CEC6DA10-6690-49FF-B1D5-188E0F80BAE2}" type="presParOf" srcId="{C138A91E-B6E7-4062-8A57-4C4A524B3EA9}" destId="{0BF25953-F53C-4A7F-A4AC-EF932C9C13DA}" srcOrd="1" destOrd="0" presId="urn:microsoft.com/office/officeart/2005/8/layout/vList2"/>
    <dgm:cxn modelId="{43B6EC12-B6AD-4EBE-8F5B-988B4E995DD0}" type="presParOf" srcId="{C138A91E-B6E7-4062-8A57-4C4A524B3EA9}" destId="{E0E56B3B-8C90-4E89-B671-4EA707AE2FA0}" srcOrd="2" destOrd="0" presId="urn:microsoft.com/office/officeart/2005/8/layout/vList2"/>
    <dgm:cxn modelId="{E018F9F1-7317-488E-BE35-1B058E42F0C4}" type="presParOf" srcId="{C138A91E-B6E7-4062-8A57-4C4A524B3EA9}" destId="{EEE1A241-6DC6-4804-9B3F-64BDDC58C4F0}" srcOrd="3" destOrd="0" presId="urn:microsoft.com/office/officeart/2005/8/layout/vList2"/>
    <dgm:cxn modelId="{5E3CB5FC-769C-4B88-9A56-84C1A9592ECB}" type="presParOf" srcId="{C138A91E-B6E7-4062-8A57-4C4A524B3EA9}" destId="{4D641451-AC58-4616-B51E-DC126D867355}" srcOrd="4" destOrd="0" presId="urn:microsoft.com/office/officeart/2005/8/layout/vList2"/>
    <dgm:cxn modelId="{D33586C7-CA8A-475E-826E-C6B7D44BAC14}" type="presParOf" srcId="{C138A91E-B6E7-4062-8A57-4C4A524B3EA9}" destId="{2108E9A4-9A2D-46CD-8BD9-C9629147ED99}" srcOrd="5" destOrd="0" presId="urn:microsoft.com/office/officeart/2005/8/layout/vList2"/>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18FEEC04-36F5-4080-AEB3-1E6AF0664561}" type="doc">
      <dgm:prSet loTypeId="urn:microsoft.com/office/officeart/2005/8/layout/cycle7" loCatId="cycle" qsTypeId="urn:microsoft.com/office/officeart/2005/8/quickstyle/simple3" qsCatId="simple" csTypeId="urn:microsoft.com/office/officeart/2005/8/colors/colorful1" csCatId="colorful" phldr="1"/>
      <dgm:spPr/>
      <dgm:t>
        <a:bodyPr/>
        <a:lstStyle/>
        <a:p>
          <a:endParaRPr lang="en-US"/>
        </a:p>
      </dgm:t>
    </dgm:pt>
    <dgm:pt modelId="{B791DD26-8A39-4A00-B80F-21C135AB04AA}">
      <dgm:prSet phldrT="[Text]"/>
      <dgm:spPr>
        <a:solidFill>
          <a:srgbClr val="0070C0">
            <a:alpha val="56000"/>
          </a:srgbClr>
        </a:solidFill>
      </dgm:spPr>
      <dgm:t>
        <a:bodyPr/>
        <a:lstStyle/>
        <a:p>
          <a:r>
            <a:rPr lang="en-US" dirty="0" smtClean="0"/>
            <a:t>Business</a:t>
          </a:r>
          <a:endParaRPr lang="en-US" dirty="0"/>
        </a:p>
      </dgm:t>
    </dgm:pt>
    <dgm:pt modelId="{D6F1273E-FCCC-4325-A69A-868FEFB09E3D}" type="parTrans" cxnId="{B685D7F4-777F-4CF2-9C37-ADBC0A6B81DB}">
      <dgm:prSet/>
      <dgm:spPr/>
      <dgm:t>
        <a:bodyPr/>
        <a:lstStyle/>
        <a:p>
          <a:endParaRPr lang="en-US"/>
        </a:p>
      </dgm:t>
    </dgm:pt>
    <dgm:pt modelId="{A1EC56BD-ADD7-4D07-A702-7A901E8C1861}" type="sibTrans" cxnId="{B685D7F4-777F-4CF2-9C37-ADBC0A6B81DB}">
      <dgm:prSet/>
      <dgm:spPr>
        <a:solidFill>
          <a:srgbClr val="70AEDC"/>
        </a:solidFill>
      </dgm:spPr>
      <dgm:t>
        <a:bodyPr/>
        <a:lstStyle/>
        <a:p>
          <a:r>
            <a:rPr lang="en-US" dirty="0" smtClean="0"/>
            <a:t>B2G / G2B</a:t>
          </a:r>
          <a:endParaRPr lang="en-US" dirty="0"/>
        </a:p>
      </dgm:t>
    </dgm:pt>
    <dgm:pt modelId="{5147039C-C673-4B96-9BC5-2C0BB1F760F0}">
      <dgm:prSet phldrT="[Text]"/>
      <dgm:spPr>
        <a:solidFill>
          <a:schemeClr val="bg2"/>
        </a:solidFill>
      </dgm:spPr>
      <dgm:t>
        <a:bodyPr/>
        <a:lstStyle/>
        <a:p>
          <a:r>
            <a:rPr lang="en-US" dirty="0" smtClean="0"/>
            <a:t>Government</a:t>
          </a:r>
          <a:endParaRPr lang="en-US" dirty="0"/>
        </a:p>
      </dgm:t>
    </dgm:pt>
    <dgm:pt modelId="{EF801FB9-CC24-4903-89CD-2A69BCF3ECEA}" type="parTrans" cxnId="{3DEC1C0E-E927-4C96-A842-326E08973F4E}">
      <dgm:prSet/>
      <dgm:spPr/>
      <dgm:t>
        <a:bodyPr/>
        <a:lstStyle/>
        <a:p>
          <a:endParaRPr lang="en-US"/>
        </a:p>
      </dgm:t>
    </dgm:pt>
    <dgm:pt modelId="{14937A4E-B160-40F9-8A2C-5A37D7A0A703}" type="sibTrans" cxnId="{3DEC1C0E-E927-4C96-A842-326E08973F4E}">
      <dgm:prSet/>
      <dgm:spPr>
        <a:solidFill>
          <a:schemeClr val="bg2"/>
        </a:solidFill>
      </dgm:spPr>
      <dgm:t>
        <a:bodyPr/>
        <a:lstStyle/>
        <a:p>
          <a:r>
            <a:rPr lang="en-US" dirty="0" smtClean="0"/>
            <a:t>C2G / G2C</a:t>
          </a:r>
          <a:endParaRPr lang="en-US" dirty="0"/>
        </a:p>
      </dgm:t>
    </dgm:pt>
    <dgm:pt modelId="{4CC3D570-7D4D-40C4-BF87-A91037ADAA26}">
      <dgm:prSet phldrT="[Text]"/>
      <dgm:spPr>
        <a:solidFill>
          <a:schemeClr val="accent5">
            <a:lumMod val="60000"/>
            <a:lumOff val="40000"/>
          </a:schemeClr>
        </a:solidFill>
      </dgm:spPr>
      <dgm:t>
        <a:bodyPr/>
        <a:lstStyle/>
        <a:p>
          <a:r>
            <a:rPr lang="en-US" dirty="0" smtClean="0"/>
            <a:t>Citizen</a:t>
          </a:r>
          <a:endParaRPr lang="en-US" dirty="0"/>
        </a:p>
      </dgm:t>
    </dgm:pt>
    <dgm:pt modelId="{B5B70405-A5CF-4555-B9AA-07C58E51C4C7}" type="parTrans" cxnId="{7AF1DBBF-F685-4868-AA9F-C16EFFFAF04C}">
      <dgm:prSet/>
      <dgm:spPr/>
      <dgm:t>
        <a:bodyPr/>
        <a:lstStyle/>
        <a:p>
          <a:endParaRPr lang="en-US"/>
        </a:p>
      </dgm:t>
    </dgm:pt>
    <dgm:pt modelId="{FF6D342C-B707-426E-B979-7780211AD93B}" type="sibTrans" cxnId="{7AF1DBBF-F685-4868-AA9F-C16EFFFAF04C}">
      <dgm:prSet/>
      <dgm:spPr>
        <a:solidFill>
          <a:schemeClr val="accent5">
            <a:lumMod val="60000"/>
            <a:lumOff val="40000"/>
          </a:schemeClr>
        </a:solidFill>
      </dgm:spPr>
      <dgm:t>
        <a:bodyPr/>
        <a:lstStyle/>
        <a:p>
          <a:r>
            <a:rPr lang="en-US" dirty="0" smtClean="0"/>
            <a:t>C2B</a:t>
          </a:r>
          <a:endParaRPr lang="en-US" dirty="0"/>
        </a:p>
      </dgm:t>
    </dgm:pt>
    <dgm:pt modelId="{4E7D2317-3A25-42A0-9835-067265193C8F}" type="pres">
      <dgm:prSet presAssocID="{18FEEC04-36F5-4080-AEB3-1E6AF0664561}" presName="Name0" presStyleCnt="0">
        <dgm:presLayoutVars>
          <dgm:dir/>
          <dgm:resizeHandles val="exact"/>
        </dgm:presLayoutVars>
      </dgm:prSet>
      <dgm:spPr/>
      <dgm:t>
        <a:bodyPr/>
        <a:lstStyle/>
        <a:p>
          <a:endParaRPr lang="en-US"/>
        </a:p>
      </dgm:t>
    </dgm:pt>
    <dgm:pt modelId="{A4E2180B-3693-4D5E-831A-C8037A071D96}" type="pres">
      <dgm:prSet presAssocID="{B791DD26-8A39-4A00-B80F-21C135AB04AA}" presName="node" presStyleLbl="node1" presStyleIdx="0" presStyleCnt="3" custRadScaleRad="86310" custRadScaleInc="7149">
        <dgm:presLayoutVars>
          <dgm:bulletEnabled val="1"/>
        </dgm:presLayoutVars>
      </dgm:prSet>
      <dgm:spPr/>
      <dgm:t>
        <a:bodyPr/>
        <a:lstStyle/>
        <a:p>
          <a:endParaRPr lang="en-US"/>
        </a:p>
      </dgm:t>
    </dgm:pt>
    <dgm:pt modelId="{C4E28D38-7A77-4F65-85D6-E2D83FEE134D}" type="pres">
      <dgm:prSet presAssocID="{A1EC56BD-ADD7-4D07-A702-7A901E8C1861}" presName="sibTrans" presStyleLbl="sibTrans2D1" presStyleIdx="0" presStyleCnt="3" custScaleX="133355" custScaleY="175051" custLinFactNeighborX="18816"/>
      <dgm:spPr/>
      <dgm:t>
        <a:bodyPr/>
        <a:lstStyle/>
        <a:p>
          <a:endParaRPr lang="en-US"/>
        </a:p>
      </dgm:t>
    </dgm:pt>
    <dgm:pt modelId="{FCAB8FA3-791D-457C-A05B-9FD5F3874B6F}" type="pres">
      <dgm:prSet presAssocID="{A1EC56BD-ADD7-4D07-A702-7A901E8C1861}" presName="connectorText" presStyleLbl="sibTrans2D1" presStyleIdx="0" presStyleCnt="3"/>
      <dgm:spPr/>
      <dgm:t>
        <a:bodyPr/>
        <a:lstStyle/>
        <a:p>
          <a:endParaRPr lang="en-US"/>
        </a:p>
      </dgm:t>
    </dgm:pt>
    <dgm:pt modelId="{A7CCB533-E6E9-4360-8B73-78C0B37CFA5C}" type="pres">
      <dgm:prSet presAssocID="{5147039C-C673-4B96-9BC5-2C0BB1F760F0}" presName="node" presStyleLbl="node1" presStyleIdx="1" presStyleCnt="3">
        <dgm:presLayoutVars>
          <dgm:bulletEnabled val="1"/>
        </dgm:presLayoutVars>
      </dgm:prSet>
      <dgm:spPr/>
      <dgm:t>
        <a:bodyPr/>
        <a:lstStyle/>
        <a:p>
          <a:endParaRPr lang="en-US"/>
        </a:p>
      </dgm:t>
    </dgm:pt>
    <dgm:pt modelId="{225C6AA8-E5A3-40E7-A677-FD50CA8FD628}" type="pres">
      <dgm:prSet presAssocID="{14937A4E-B160-40F9-8A2C-5A37D7A0A703}" presName="sibTrans" presStyleLbl="sibTrans2D1" presStyleIdx="1" presStyleCnt="3" custScaleX="125017" custScaleY="139933"/>
      <dgm:spPr/>
      <dgm:t>
        <a:bodyPr/>
        <a:lstStyle/>
        <a:p>
          <a:endParaRPr lang="en-US"/>
        </a:p>
      </dgm:t>
    </dgm:pt>
    <dgm:pt modelId="{C7C121B1-B34A-4718-B101-448BB5C1447D}" type="pres">
      <dgm:prSet presAssocID="{14937A4E-B160-40F9-8A2C-5A37D7A0A703}" presName="connectorText" presStyleLbl="sibTrans2D1" presStyleIdx="1" presStyleCnt="3"/>
      <dgm:spPr/>
      <dgm:t>
        <a:bodyPr/>
        <a:lstStyle/>
        <a:p>
          <a:endParaRPr lang="en-US"/>
        </a:p>
      </dgm:t>
    </dgm:pt>
    <dgm:pt modelId="{309B156F-38A1-4323-A5A0-16D2B7DBF7E6}" type="pres">
      <dgm:prSet presAssocID="{4CC3D570-7D4D-40C4-BF87-A91037ADAA26}" presName="node" presStyleLbl="node1" presStyleIdx="2" presStyleCnt="3" custRadScaleRad="95649" custRadScaleInc="-1025">
        <dgm:presLayoutVars>
          <dgm:bulletEnabled val="1"/>
        </dgm:presLayoutVars>
      </dgm:prSet>
      <dgm:spPr/>
      <dgm:t>
        <a:bodyPr/>
        <a:lstStyle/>
        <a:p>
          <a:endParaRPr lang="en-US"/>
        </a:p>
      </dgm:t>
    </dgm:pt>
    <dgm:pt modelId="{E06BD120-F11D-4154-B0CD-025A961E2352}" type="pres">
      <dgm:prSet presAssocID="{FF6D342C-B707-426E-B979-7780211AD93B}" presName="sibTrans" presStyleLbl="sibTrans2D1" presStyleIdx="2" presStyleCnt="3" custScaleX="113941" custScaleY="149261" custLinFactNeighborX="-28218"/>
      <dgm:spPr/>
      <dgm:t>
        <a:bodyPr/>
        <a:lstStyle/>
        <a:p>
          <a:endParaRPr lang="en-US"/>
        </a:p>
      </dgm:t>
    </dgm:pt>
    <dgm:pt modelId="{244A3DE2-7B1C-4B46-A716-2A5E5855F06D}" type="pres">
      <dgm:prSet presAssocID="{FF6D342C-B707-426E-B979-7780211AD93B}" presName="connectorText" presStyleLbl="sibTrans2D1" presStyleIdx="2" presStyleCnt="3"/>
      <dgm:spPr/>
      <dgm:t>
        <a:bodyPr/>
        <a:lstStyle/>
        <a:p>
          <a:endParaRPr lang="en-US"/>
        </a:p>
      </dgm:t>
    </dgm:pt>
  </dgm:ptLst>
  <dgm:cxnLst>
    <dgm:cxn modelId="{AB542A1A-1F06-4EA0-BA46-1D0FCF3F66A5}" type="presOf" srcId="{FF6D342C-B707-426E-B979-7780211AD93B}" destId="{E06BD120-F11D-4154-B0CD-025A961E2352}" srcOrd="0" destOrd="0" presId="urn:microsoft.com/office/officeart/2005/8/layout/cycle7"/>
    <dgm:cxn modelId="{D35608FD-B730-4622-B638-34366529FCA7}" type="presOf" srcId="{4CC3D570-7D4D-40C4-BF87-A91037ADAA26}" destId="{309B156F-38A1-4323-A5A0-16D2B7DBF7E6}" srcOrd="0" destOrd="0" presId="urn:microsoft.com/office/officeart/2005/8/layout/cycle7"/>
    <dgm:cxn modelId="{5BDCA5AF-E2C9-4B8F-8E0F-5BEB3CC4BC32}" type="presOf" srcId="{FF6D342C-B707-426E-B979-7780211AD93B}" destId="{244A3DE2-7B1C-4B46-A716-2A5E5855F06D}" srcOrd="1" destOrd="0" presId="urn:microsoft.com/office/officeart/2005/8/layout/cycle7"/>
    <dgm:cxn modelId="{3DEC1C0E-E927-4C96-A842-326E08973F4E}" srcId="{18FEEC04-36F5-4080-AEB3-1E6AF0664561}" destId="{5147039C-C673-4B96-9BC5-2C0BB1F760F0}" srcOrd="1" destOrd="0" parTransId="{EF801FB9-CC24-4903-89CD-2A69BCF3ECEA}" sibTransId="{14937A4E-B160-40F9-8A2C-5A37D7A0A703}"/>
    <dgm:cxn modelId="{8AAFB14D-9483-401B-8226-CD4BE1FB5407}" type="presOf" srcId="{14937A4E-B160-40F9-8A2C-5A37D7A0A703}" destId="{C7C121B1-B34A-4718-B101-448BB5C1447D}" srcOrd="1" destOrd="0" presId="urn:microsoft.com/office/officeart/2005/8/layout/cycle7"/>
    <dgm:cxn modelId="{62DEC00D-DC45-47F2-9F55-5B48E66C414F}" type="presOf" srcId="{A1EC56BD-ADD7-4D07-A702-7A901E8C1861}" destId="{C4E28D38-7A77-4F65-85D6-E2D83FEE134D}" srcOrd="0" destOrd="0" presId="urn:microsoft.com/office/officeart/2005/8/layout/cycle7"/>
    <dgm:cxn modelId="{690B043F-74E5-4B0C-9F7A-53231C350338}" type="presOf" srcId="{5147039C-C673-4B96-9BC5-2C0BB1F760F0}" destId="{A7CCB533-E6E9-4360-8B73-78C0B37CFA5C}" srcOrd="0" destOrd="0" presId="urn:microsoft.com/office/officeart/2005/8/layout/cycle7"/>
    <dgm:cxn modelId="{9E503895-7985-4F0D-9F2C-0FBED0C54834}" type="presOf" srcId="{18FEEC04-36F5-4080-AEB3-1E6AF0664561}" destId="{4E7D2317-3A25-42A0-9835-067265193C8F}" srcOrd="0" destOrd="0" presId="urn:microsoft.com/office/officeart/2005/8/layout/cycle7"/>
    <dgm:cxn modelId="{B685D7F4-777F-4CF2-9C37-ADBC0A6B81DB}" srcId="{18FEEC04-36F5-4080-AEB3-1E6AF0664561}" destId="{B791DD26-8A39-4A00-B80F-21C135AB04AA}" srcOrd="0" destOrd="0" parTransId="{D6F1273E-FCCC-4325-A69A-868FEFB09E3D}" sibTransId="{A1EC56BD-ADD7-4D07-A702-7A901E8C1861}"/>
    <dgm:cxn modelId="{9235B976-25EA-45F5-8FB9-BAD3B5723651}" type="presOf" srcId="{14937A4E-B160-40F9-8A2C-5A37D7A0A703}" destId="{225C6AA8-E5A3-40E7-A677-FD50CA8FD628}" srcOrd="0" destOrd="0" presId="urn:microsoft.com/office/officeart/2005/8/layout/cycle7"/>
    <dgm:cxn modelId="{36606EDB-6785-4280-964C-F1AEE32BA6FB}" type="presOf" srcId="{B791DD26-8A39-4A00-B80F-21C135AB04AA}" destId="{A4E2180B-3693-4D5E-831A-C8037A071D96}" srcOrd="0" destOrd="0" presId="urn:microsoft.com/office/officeart/2005/8/layout/cycle7"/>
    <dgm:cxn modelId="{22F49E75-B6D8-4761-ABFF-9EF4BF192E8F}" type="presOf" srcId="{A1EC56BD-ADD7-4D07-A702-7A901E8C1861}" destId="{FCAB8FA3-791D-457C-A05B-9FD5F3874B6F}" srcOrd="1" destOrd="0" presId="urn:microsoft.com/office/officeart/2005/8/layout/cycle7"/>
    <dgm:cxn modelId="{7AF1DBBF-F685-4868-AA9F-C16EFFFAF04C}" srcId="{18FEEC04-36F5-4080-AEB3-1E6AF0664561}" destId="{4CC3D570-7D4D-40C4-BF87-A91037ADAA26}" srcOrd="2" destOrd="0" parTransId="{B5B70405-A5CF-4555-B9AA-07C58E51C4C7}" sibTransId="{FF6D342C-B707-426E-B979-7780211AD93B}"/>
    <dgm:cxn modelId="{55C95085-C2EB-4BF7-96AB-5FE1E0780388}" type="presParOf" srcId="{4E7D2317-3A25-42A0-9835-067265193C8F}" destId="{A4E2180B-3693-4D5E-831A-C8037A071D96}" srcOrd="0" destOrd="0" presId="urn:microsoft.com/office/officeart/2005/8/layout/cycle7"/>
    <dgm:cxn modelId="{3A8F467E-1FBC-49C1-AAF2-1D6E768E6B2B}" type="presParOf" srcId="{4E7D2317-3A25-42A0-9835-067265193C8F}" destId="{C4E28D38-7A77-4F65-85D6-E2D83FEE134D}" srcOrd="1" destOrd="0" presId="urn:microsoft.com/office/officeart/2005/8/layout/cycle7"/>
    <dgm:cxn modelId="{7ECDF8ED-0C02-45F1-A758-D518E531206E}" type="presParOf" srcId="{C4E28D38-7A77-4F65-85D6-E2D83FEE134D}" destId="{FCAB8FA3-791D-457C-A05B-9FD5F3874B6F}" srcOrd="0" destOrd="0" presId="urn:microsoft.com/office/officeart/2005/8/layout/cycle7"/>
    <dgm:cxn modelId="{08DA219D-AD51-4670-BF27-58660C767AA2}" type="presParOf" srcId="{4E7D2317-3A25-42A0-9835-067265193C8F}" destId="{A7CCB533-E6E9-4360-8B73-78C0B37CFA5C}" srcOrd="2" destOrd="0" presId="urn:microsoft.com/office/officeart/2005/8/layout/cycle7"/>
    <dgm:cxn modelId="{33E284A3-DF27-4A6D-81DE-F6B609609EEF}" type="presParOf" srcId="{4E7D2317-3A25-42A0-9835-067265193C8F}" destId="{225C6AA8-E5A3-40E7-A677-FD50CA8FD628}" srcOrd="3" destOrd="0" presId="urn:microsoft.com/office/officeart/2005/8/layout/cycle7"/>
    <dgm:cxn modelId="{192A0587-D948-468F-8432-0BB858E089CB}" type="presParOf" srcId="{225C6AA8-E5A3-40E7-A677-FD50CA8FD628}" destId="{C7C121B1-B34A-4718-B101-448BB5C1447D}" srcOrd="0" destOrd="0" presId="urn:microsoft.com/office/officeart/2005/8/layout/cycle7"/>
    <dgm:cxn modelId="{081EC58F-A09F-4BD8-B163-F5DA72C38336}" type="presParOf" srcId="{4E7D2317-3A25-42A0-9835-067265193C8F}" destId="{309B156F-38A1-4323-A5A0-16D2B7DBF7E6}" srcOrd="4" destOrd="0" presId="urn:microsoft.com/office/officeart/2005/8/layout/cycle7"/>
    <dgm:cxn modelId="{2B9FC5F2-79A9-4E0A-878A-5B4D0DF1A507}" type="presParOf" srcId="{4E7D2317-3A25-42A0-9835-067265193C8F}" destId="{E06BD120-F11D-4154-B0CD-025A961E2352}" srcOrd="5" destOrd="0" presId="urn:microsoft.com/office/officeart/2005/8/layout/cycle7"/>
    <dgm:cxn modelId="{F9FA39E6-F9EC-4A94-8CC3-89870F0EB683}" type="presParOf" srcId="{E06BD120-F11D-4154-B0CD-025A961E2352}" destId="{244A3DE2-7B1C-4B46-A716-2A5E5855F06D}" srcOrd="0" destOrd="0" presId="urn:microsoft.com/office/officeart/2005/8/layout/cycle7"/>
  </dgm:cxnLst>
  <dgm:bg>
    <a:noFill/>
  </dgm:bg>
  <dgm:whole/>
  <dgm:extLst>
    <a:ext uri="http://schemas.microsoft.com/office/drawing/2008/diagram">
      <dsp:dataModelExt xmlns:dsp="http://schemas.microsoft.com/office/drawing/2008/diagram" relId="rId13"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2F680CC-17BE-4C8C-808F-535BF3CD0D15}" type="doc">
      <dgm:prSet loTypeId="urn:microsoft.com/office/officeart/2005/8/layout/cycle6" loCatId="cycle" qsTypeId="urn:microsoft.com/office/officeart/2005/8/quickstyle/simple1" qsCatId="simple" csTypeId="urn:microsoft.com/office/officeart/2005/8/colors/accent5_2" csCatId="accent5" phldr="1"/>
      <dgm:spPr/>
      <dgm:t>
        <a:bodyPr/>
        <a:lstStyle/>
        <a:p>
          <a:endParaRPr lang="en-US"/>
        </a:p>
      </dgm:t>
    </dgm:pt>
    <dgm:pt modelId="{79388FEA-D135-4263-B45F-1145D02E04F1}">
      <dgm:prSet phldrT="[Text]" custT="1"/>
      <dgm:spPr/>
      <dgm:t>
        <a:bodyPr/>
        <a:lstStyle/>
        <a:p>
          <a:r>
            <a:rPr lang="en-US" sz="1800" b="1" dirty="0" smtClean="0"/>
            <a:t>Challenges &amp; prizes</a:t>
          </a:r>
          <a:endParaRPr lang="en-US" sz="1800" b="1" dirty="0"/>
        </a:p>
      </dgm:t>
    </dgm:pt>
    <dgm:pt modelId="{BCB6B4DE-10F7-4F4A-BDB7-58527DB17889}" type="parTrans" cxnId="{A3F9D0D4-DC3C-473B-925D-C4C235EFCF23}">
      <dgm:prSet/>
      <dgm:spPr/>
      <dgm:t>
        <a:bodyPr/>
        <a:lstStyle/>
        <a:p>
          <a:endParaRPr lang="en-US"/>
        </a:p>
      </dgm:t>
    </dgm:pt>
    <dgm:pt modelId="{80DA2FC8-BA08-4250-975B-6BB5F5D83AFA}" type="sibTrans" cxnId="{A3F9D0D4-DC3C-473B-925D-C4C235EFCF23}">
      <dgm:prSet/>
      <dgm:spPr/>
      <dgm:t>
        <a:bodyPr/>
        <a:lstStyle/>
        <a:p>
          <a:endParaRPr lang="en-US"/>
        </a:p>
      </dgm:t>
    </dgm:pt>
    <dgm:pt modelId="{6CFE2845-F296-42B2-B48B-B97D82AC1567}">
      <dgm:prSet phldrT="[Text]" custT="1"/>
      <dgm:spPr/>
      <dgm:t>
        <a:bodyPr/>
        <a:lstStyle/>
        <a:p>
          <a:r>
            <a:rPr lang="en-US" sz="1800" b="1" dirty="0" smtClean="0"/>
            <a:t>Hackathon</a:t>
          </a:r>
          <a:endParaRPr lang="en-US" sz="1600" b="1" dirty="0"/>
        </a:p>
      </dgm:t>
    </dgm:pt>
    <dgm:pt modelId="{BF933914-E725-43DE-9625-F82EF8215B91}" type="parTrans" cxnId="{72DF4990-DB57-4C66-903F-7509ECE2B22B}">
      <dgm:prSet/>
      <dgm:spPr/>
      <dgm:t>
        <a:bodyPr/>
        <a:lstStyle/>
        <a:p>
          <a:endParaRPr lang="en-US"/>
        </a:p>
      </dgm:t>
    </dgm:pt>
    <dgm:pt modelId="{20D683E5-568E-44BD-85D0-FC0AA6A7DA17}" type="sibTrans" cxnId="{72DF4990-DB57-4C66-903F-7509ECE2B22B}">
      <dgm:prSet/>
      <dgm:spPr/>
      <dgm:t>
        <a:bodyPr/>
        <a:lstStyle/>
        <a:p>
          <a:endParaRPr lang="en-US"/>
        </a:p>
      </dgm:t>
    </dgm:pt>
    <dgm:pt modelId="{2B639AFE-F929-46E4-A8DB-6904E9BE83C0}">
      <dgm:prSet phldrT="[Text]" custT="1"/>
      <dgm:spPr/>
      <dgm:t>
        <a:bodyPr/>
        <a:lstStyle/>
        <a:p>
          <a:r>
            <a:rPr lang="en-US" sz="1800" b="1" dirty="0" smtClean="0"/>
            <a:t>Piloting</a:t>
          </a:r>
          <a:endParaRPr lang="en-US" sz="1800" b="1" dirty="0"/>
        </a:p>
      </dgm:t>
    </dgm:pt>
    <dgm:pt modelId="{93770A40-853B-4F94-A871-FE202525DA82}" type="parTrans" cxnId="{564030EA-2993-4F70-9E85-CAD98EC97459}">
      <dgm:prSet/>
      <dgm:spPr/>
      <dgm:t>
        <a:bodyPr/>
        <a:lstStyle/>
        <a:p>
          <a:endParaRPr lang="en-US"/>
        </a:p>
      </dgm:t>
    </dgm:pt>
    <dgm:pt modelId="{43028F9A-6608-4F60-BD80-799F45DC6914}" type="sibTrans" cxnId="{564030EA-2993-4F70-9E85-CAD98EC97459}">
      <dgm:prSet/>
      <dgm:spPr/>
      <dgm:t>
        <a:bodyPr/>
        <a:lstStyle/>
        <a:p>
          <a:endParaRPr lang="en-US"/>
        </a:p>
      </dgm:t>
    </dgm:pt>
    <dgm:pt modelId="{AEEB553B-CD37-4F04-B9C1-61AE9D70519C}">
      <dgm:prSet phldrT="[Text]" custT="1"/>
      <dgm:spPr/>
      <dgm:t>
        <a:bodyPr/>
        <a:lstStyle/>
        <a:p>
          <a:r>
            <a:rPr lang="en-US" sz="1800" b="1" dirty="0" smtClean="0"/>
            <a:t>Research grants</a:t>
          </a:r>
          <a:endParaRPr lang="en-US" sz="1800" b="1" dirty="0"/>
        </a:p>
      </dgm:t>
    </dgm:pt>
    <dgm:pt modelId="{816AE5AC-4E9F-42B5-AE11-C4B4237C0869}" type="parTrans" cxnId="{5925B8B9-E7C7-4AC1-B40F-A2B1E4DD6E75}">
      <dgm:prSet/>
      <dgm:spPr/>
      <dgm:t>
        <a:bodyPr/>
        <a:lstStyle/>
        <a:p>
          <a:endParaRPr lang="en-US"/>
        </a:p>
      </dgm:t>
    </dgm:pt>
    <dgm:pt modelId="{48CCC055-5B3A-45B3-A479-EA9E0B4B43FE}" type="sibTrans" cxnId="{5925B8B9-E7C7-4AC1-B40F-A2B1E4DD6E75}">
      <dgm:prSet/>
      <dgm:spPr/>
      <dgm:t>
        <a:bodyPr/>
        <a:lstStyle/>
        <a:p>
          <a:endParaRPr lang="en-US"/>
        </a:p>
      </dgm:t>
    </dgm:pt>
    <dgm:pt modelId="{58309AE9-EAC2-4B98-BBEA-CD1D383C9FF2}">
      <dgm:prSet phldrT="[Text]" custT="1"/>
      <dgm:spPr/>
      <dgm:t>
        <a:bodyPr/>
        <a:lstStyle/>
        <a:p>
          <a:r>
            <a:rPr lang="en-US" sz="1600" b="1" dirty="0" smtClean="0"/>
            <a:t>Ecosystem building (innovation labs)</a:t>
          </a:r>
          <a:endParaRPr lang="en-US" sz="1600" b="1" dirty="0"/>
        </a:p>
      </dgm:t>
    </dgm:pt>
    <dgm:pt modelId="{081C48A0-0167-42F9-9557-DF80549FEA2D}" type="parTrans" cxnId="{9B9EFFA2-B4FE-41CB-9729-060F15F387A9}">
      <dgm:prSet/>
      <dgm:spPr/>
      <dgm:t>
        <a:bodyPr/>
        <a:lstStyle/>
        <a:p>
          <a:endParaRPr lang="en-US"/>
        </a:p>
      </dgm:t>
    </dgm:pt>
    <dgm:pt modelId="{29D7FB5F-4981-445A-8BE6-D1F903DE1B10}" type="sibTrans" cxnId="{9B9EFFA2-B4FE-41CB-9729-060F15F387A9}">
      <dgm:prSet/>
      <dgm:spPr/>
      <dgm:t>
        <a:bodyPr/>
        <a:lstStyle/>
        <a:p>
          <a:endParaRPr lang="en-US"/>
        </a:p>
      </dgm:t>
    </dgm:pt>
    <dgm:pt modelId="{49EEE0F8-9E87-4B5A-A0B7-D518BB35ED36}" type="pres">
      <dgm:prSet presAssocID="{02F680CC-17BE-4C8C-808F-535BF3CD0D15}" presName="cycle" presStyleCnt="0">
        <dgm:presLayoutVars>
          <dgm:dir/>
          <dgm:resizeHandles val="exact"/>
        </dgm:presLayoutVars>
      </dgm:prSet>
      <dgm:spPr/>
      <dgm:t>
        <a:bodyPr/>
        <a:lstStyle/>
        <a:p>
          <a:endParaRPr lang="en-US"/>
        </a:p>
      </dgm:t>
    </dgm:pt>
    <dgm:pt modelId="{65646D20-651C-41B7-8983-4BDBCCD0D6C0}" type="pres">
      <dgm:prSet presAssocID="{79388FEA-D135-4263-B45F-1145D02E04F1}" presName="node" presStyleLbl="node1" presStyleIdx="0" presStyleCnt="5">
        <dgm:presLayoutVars>
          <dgm:bulletEnabled val="1"/>
        </dgm:presLayoutVars>
      </dgm:prSet>
      <dgm:spPr/>
      <dgm:t>
        <a:bodyPr/>
        <a:lstStyle/>
        <a:p>
          <a:endParaRPr lang="en-US"/>
        </a:p>
      </dgm:t>
    </dgm:pt>
    <dgm:pt modelId="{42566BA7-137C-419A-9A09-CE7D5BCE3F7B}" type="pres">
      <dgm:prSet presAssocID="{79388FEA-D135-4263-B45F-1145D02E04F1}" presName="spNode" presStyleCnt="0"/>
      <dgm:spPr/>
    </dgm:pt>
    <dgm:pt modelId="{36CE8B1A-A28C-42C3-B216-5B1AEB615039}" type="pres">
      <dgm:prSet presAssocID="{80DA2FC8-BA08-4250-975B-6BB5F5D83AFA}" presName="sibTrans" presStyleLbl="sibTrans1D1" presStyleIdx="0" presStyleCnt="5"/>
      <dgm:spPr/>
      <dgm:t>
        <a:bodyPr/>
        <a:lstStyle/>
        <a:p>
          <a:endParaRPr lang="en-US"/>
        </a:p>
      </dgm:t>
    </dgm:pt>
    <dgm:pt modelId="{0D8A7AD3-BF36-4619-B3B8-052E86208C88}" type="pres">
      <dgm:prSet presAssocID="{6CFE2845-F296-42B2-B48B-B97D82AC1567}" presName="node" presStyleLbl="node1" presStyleIdx="1" presStyleCnt="5">
        <dgm:presLayoutVars>
          <dgm:bulletEnabled val="1"/>
        </dgm:presLayoutVars>
      </dgm:prSet>
      <dgm:spPr/>
      <dgm:t>
        <a:bodyPr/>
        <a:lstStyle/>
        <a:p>
          <a:endParaRPr lang="en-US"/>
        </a:p>
      </dgm:t>
    </dgm:pt>
    <dgm:pt modelId="{743549FE-9B5B-41A5-A357-FBB1CE94BB05}" type="pres">
      <dgm:prSet presAssocID="{6CFE2845-F296-42B2-B48B-B97D82AC1567}" presName="spNode" presStyleCnt="0"/>
      <dgm:spPr/>
    </dgm:pt>
    <dgm:pt modelId="{D1A0B757-7819-4808-AAC4-F28D23E9467C}" type="pres">
      <dgm:prSet presAssocID="{20D683E5-568E-44BD-85D0-FC0AA6A7DA17}" presName="sibTrans" presStyleLbl="sibTrans1D1" presStyleIdx="1" presStyleCnt="5"/>
      <dgm:spPr/>
      <dgm:t>
        <a:bodyPr/>
        <a:lstStyle/>
        <a:p>
          <a:endParaRPr lang="en-US"/>
        </a:p>
      </dgm:t>
    </dgm:pt>
    <dgm:pt modelId="{27415084-477B-4F19-ABFA-AFBFC0450D3B}" type="pres">
      <dgm:prSet presAssocID="{2B639AFE-F929-46E4-A8DB-6904E9BE83C0}" presName="node" presStyleLbl="node1" presStyleIdx="2" presStyleCnt="5">
        <dgm:presLayoutVars>
          <dgm:bulletEnabled val="1"/>
        </dgm:presLayoutVars>
      </dgm:prSet>
      <dgm:spPr/>
      <dgm:t>
        <a:bodyPr/>
        <a:lstStyle/>
        <a:p>
          <a:endParaRPr lang="en-US"/>
        </a:p>
      </dgm:t>
    </dgm:pt>
    <dgm:pt modelId="{69DE700C-1EAA-40F9-8081-9592747539DC}" type="pres">
      <dgm:prSet presAssocID="{2B639AFE-F929-46E4-A8DB-6904E9BE83C0}" presName="spNode" presStyleCnt="0"/>
      <dgm:spPr/>
    </dgm:pt>
    <dgm:pt modelId="{C85E58DA-CFE9-4230-B4DD-642E423A03C6}" type="pres">
      <dgm:prSet presAssocID="{43028F9A-6608-4F60-BD80-799F45DC6914}" presName="sibTrans" presStyleLbl="sibTrans1D1" presStyleIdx="2" presStyleCnt="5"/>
      <dgm:spPr/>
      <dgm:t>
        <a:bodyPr/>
        <a:lstStyle/>
        <a:p>
          <a:endParaRPr lang="en-US"/>
        </a:p>
      </dgm:t>
    </dgm:pt>
    <dgm:pt modelId="{3439465D-FDF5-47CA-BD1B-5D9C234AC0B2}" type="pres">
      <dgm:prSet presAssocID="{AEEB553B-CD37-4F04-B9C1-61AE9D70519C}" presName="node" presStyleLbl="node1" presStyleIdx="3" presStyleCnt="5">
        <dgm:presLayoutVars>
          <dgm:bulletEnabled val="1"/>
        </dgm:presLayoutVars>
      </dgm:prSet>
      <dgm:spPr/>
      <dgm:t>
        <a:bodyPr/>
        <a:lstStyle/>
        <a:p>
          <a:endParaRPr lang="en-US"/>
        </a:p>
      </dgm:t>
    </dgm:pt>
    <dgm:pt modelId="{DC9A210B-17F9-476F-A16F-026EAEB6A4D6}" type="pres">
      <dgm:prSet presAssocID="{AEEB553B-CD37-4F04-B9C1-61AE9D70519C}" presName="spNode" presStyleCnt="0"/>
      <dgm:spPr/>
    </dgm:pt>
    <dgm:pt modelId="{F62D8993-E35D-4010-8768-9CCFDE9CEB4B}" type="pres">
      <dgm:prSet presAssocID="{48CCC055-5B3A-45B3-A479-EA9E0B4B43FE}" presName="sibTrans" presStyleLbl="sibTrans1D1" presStyleIdx="3" presStyleCnt="5"/>
      <dgm:spPr/>
      <dgm:t>
        <a:bodyPr/>
        <a:lstStyle/>
        <a:p>
          <a:endParaRPr lang="en-US"/>
        </a:p>
      </dgm:t>
    </dgm:pt>
    <dgm:pt modelId="{6D933173-591E-473B-8EDD-AD68A9D6A79B}" type="pres">
      <dgm:prSet presAssocID="{58309AE9-EAC2-4B98-BBEA-CD1D383C9FF2}" presName="node" presStyleLbl="node1" presStyleIdx="4" presStyleCnt="5">
        <dgm:presLayoutVars>
          <dgm:bulletEnabled val="1"/>
        </dgm:presLayoutVars>
      </dgm:prSet>
      <dgm:spPr/>
      <dgm:t>
        <a:bodyPr/>
        <a:lstStyle/>
        <a:p>
          <a:endParaRPr lang="en-US"/>
        </a:p>
      </dgm:t>
    </dgm:pt>
    <dgm:pt modelId="{5C469EDE-C96B-48C9-9CE9-25BB67B592E4}" type="pres">
      <dgm:prSet presAssocID="{58309AE9-EAC2-4B98-BBEA-CD1D383C9FF2}" presName="spNode" presStyleCnt="0"/>
      <dgm:spPr/>
    </dgm:pt>
    <dgm:pt modelId="{8FFC41A3-736C-4851-BA5F-A4F70AF0CC0F}" type="pres">
      <dgm:prSet presAssocID="{29D7FB5F-4981-445A-8BE6-D1F903DE1B10}" presName="sibTrans" presStyleLbl="sibTrans1D1" presStyleIdx="4" presStyleCnt="5"/>
      <dgm:spPr/>
      <dgm:t>
        <a:bodyPr/>
        <a:lstStyle/>
        <a:p>
          <a:endParaRPr lang="en-US"/>
        </a:p>
      </dgm:t>
    </dgm:pt>
  </dgm:ptLst>
  <dgm:cxnLst>
    <dgm:cxn modelId="{B1FFAC37-3FD7-40BF-B6FC-AAFABF387BCB}" type="presOf" srcId="{2B639AFE-F929-46E4-A8DB-6904E9BE83C0}" destId="{27415084-477B-4F19-ABFA-AFBFC0450D3B}" srcOrd="0" destOrd="0" presId="urn:microsoft.com/office/officeart/2005/8/layout/cycle6"/>
    <dgm:cxn modelId="{63B91D46-59CC-4F0A-97D5-750B2CE7BA8A}" type="presOf" srcId="{AEEB553B-CD37-4F04-B9C1-61AE9D70519C}" destId="{3439465D-FDF5-47CA-BD1B-5D9C234AC0B2}" srcOrd="0" destOrd="0" presId="urn:microsoft.com/office/officeart/2005/8/layout/cycle6"/>
    <dgm:cxn modelId="{A3F9D0D4-DC3C-473B-925D-C4C235EFCF23}" srcId="{02F680CC-17BE-4C8C-808F-535BF3CD0D15}" destId="{79388FEA-D135-4263-B45F-1145D02E04F1}" srcOrd="0" destOrd="0" parTransId="{BCB6B4DE-10F7-4F4A-BDB7-58527DB17889}" sibTransId="{80DA2FC8-BA08-4250-975B-6BB5F5D83AFA}"/>
    <dgm:cxn modelId="{5E38C8F7-69EC-4E2C-B801-100A66BD0E85}" type="presOf" srcId="{48CCC055-5B3A-45B3-A479-EA9E0B4B43FE}" destId="{F62D8993-E35D-4010-8768-9CCFDE9CEB4B}" srcOrd="0" destOrd="0" presId="urn:microsoft.com/office/officeart/2005/8/layout/cycle6"/>
    <dgm:cxn modelId="{564030EA-2993-4F70-9E85-CAD98EC97459}" srcId="{02F680CC-17BE-4C8C-808F-535BF3CD0D15}" destId="{2B639AFE-F929-46E4-A8DB-6904E9BE83C0}" srcOrd="2" destOrd="0" parTransId="{93770A40-853B-4F94-A871-FE202525DA82}" sibTransId="{43028F9A-6608-4F60-BD80-799F45DC6914}"/>
    <dgm:cxn modelId="{00364D76-C2C1-4274-9431-12C6EA057FEF}" type="presOf" srcId="{29D7FB5F-4981-445A-8BE6-D1F903DE1B10}" destId="{8FFC41A3-736C-4851-BA5F-A4F70AF0CC0F}" srcOrd="0" destOrd="0" presId="urn:microsoft.com/office/officeart/2005/8/layout/cycle6"/>
    <dgm:cxn modelId="{5F05309C-4C85-4F40-AF00-DBDE600849A6}" type="presOf" srcId="{02F680CC-17BE-4C8C-808F-535BF3CD0D15}" destId="{49EEE0F8-9E87-4B5A-A0B7-D518BB35ED36}" srcOrd="0" destOrd="0" presId="urn:microsoft.com/office/officeart/2005/8/layout/cycle6"/>
    <dgm:cxn modelId="{9E36AC23-794C-4767-B0BB-7A396D5D5853}" type="presOf" srcId="{20D683E5-568E-44BD-85D0-FC0AA6A7DA17}" destId="{D1A0B757-7819-4808-AAC4-F28D23E9467C}" srcOrd="0" destOrd="0" presId="urn:microsoft.com/office/officeart/2005/8/layout/cycle6"/>
    <dgm:cxn modelId="{72DF4990-DB57-4C66-903F-7509ECE2B22B}" srcId="{02F680CC-17BE-4C8C-808F-535BF3CD0D15}" destId="{6CFE2845-F296-42B2-B48B-B97D82AC1567}" srcOrd="1" destOrd="0" parTransId="{BF933914-E725-43DE-9625-F82EF8215B91}" sibTransId="{20D683E5-568E-44BD-85D0-FC0AA6A7DA17}"/>
    <dgm:cxn modelId="{ECFCE570-29FE-419D-A748-83404837D39D}" type="presOf" srcId="{6CFE2845-F296-42B2-B48B-B97D82AC1567}" destId="{0D8A7AD3-BF36-4619-B3B8-052E86208C88}" srcOrd="0" destOrd="0" presId="urn:microsoft.com/office/officeart/2005/8/layout/cycle6"/>
    <dgm:cxn modelId="{16B7788A-83C4-40BC-9828-351024D1EF67}" type="presOf" srcId="{58309AE9-EAC2-4B98-BBEA-CD1D383C9FF2}" destId="{6D933173-591E-473B-8EDD-AD68A9D6A79B}" srcOrd="0" destOrd="0" presId="urn:microsoft.com/office/officeart/2005/8/layout/cycle6"/>
    <dgm:cxn modelId="{5925B8B9-E7C7-4AC1-B40F-A2B1E4DD6E75}" srcId="{02F680CC-17BE-4C8C-808F-535BF3CD0D15}" destId="{AEEB553B-CD37-4F04-B9C1-61AE9D70519C}" srcOrd="3" destOrd="0" parTransId="{816AE5AC-4E9F-42B5-AE11-C4B4237C0869}" sibTransId="{48CCC055-5B3A-45B3-A479-EA9E0B4B43FE}"/>
    <dgm:cxn modelId="{C3FFC1E2-6D60-49BB-B263-75D4A568C4D5}" type="presOf" srcId="{80DA2FC8-BA08-4250-975B-6BB5F5D83AFA}" destId="{36CE8B1A-A28C-42C3-B216-5B1AEB615039}" srcOrd="0" destOrd="0" presId="urn:microsoft.com/office/officeart/2005/8/layout/cycle6"/>
    <dgm:cxn modelId="{8678D2E4-ED98-483C-B0AD-DF8C99AC16ED}" type="presOf" srcId="{43028F9A-6608-4F60-BD80-799F45DC6914}" destId="{C85E58DA-CFE9-4230-B4DD-642E423A03C6}" srcOrd="0" destOrd="0" presId="urn:microsoft.com/office/officeart/2005/8/layout/cycle6"/>
    <dgm:cxn modelId="{9B9EFFA2-B4FE-41CB-9729-060F15F387A9}" srcId="{02F680CC-17BE-4C8C-808F-535BF3CD0D15}" destId="{58309AE9-EAC2-4B98-BBEA-CD1D383C9FF2}" srcOrd="4" destOrd="0" parTransId="{081C48A0-0167-42F9-9557-DF80549FEA2D}" sibTransId="{29D7FB5F-4981-445A-8BE6-D1F903DE1B10}"/>
    <dgm:cxn modelId="{E77DDE98-540B-4F78-B96C-7B6F3D677DB0}" type="presOf" srcId="{79388FEA-D135-4263-B45F-1145D02E04F1}" destId="{65646D20-651C-41B7-8983-4BDBCCD0D6C0}" srcOrd="0" destOrd="0" presId="urn:microsoft.com/office/officeart/2005/8/layout/cycle6"/>
    <dgm:cxn modelId="{80A7E152-8BBD-4CFF-B293-07BAF2190C46}" type="presParOf" srcId="{49EEE0F8-9E87-4B5A-A0B7-D518BB35ED36}" destId="{65646D20-651C-41B7-8983-4BDBCCD0D6C0}" srcOrd="0" destOrd="0" presId="urn:microsoft.com/office/officeart/2005/8/layout/cycle6"/>
    <dgm:cxn modelId="{40E92C99-8FE3-4EE4-8448-8DDD8EA0CA40}" type="presParOf" srcId="{49EEE0F8-9E87-4B5A-A0B7-D518BB35ED36}" destId="{42566BA7-137C-419A-9A09-CE7D5BCE3F7B}" srcOrd="1" destOrd="0" presId="urn:microsoft.com/office/officeart/2005/8/layout/cycle6"/>
    <dgm:cxn modelId="{7109B1CC-4B4B-448F-B3EB-42B30BAE7E0A}" type="presParOf" srcId="{49EEE0F8-9E87-4B5A-A0B7-D518BB35ED36}" destId="{36CE8B1A-A28C-42C3-B216-5B1AEB615039}" srcOrd="2" destOrd="0" presId="urn:microsoft.com/office/officeart/2005/8/layout/cycle6"/>
    <dgm:cxn modelId="{E75A082E-D79D-463B-B620-54D3DE5767E5}" type="presParOf" srcId="{49EEE0F8-9E87-4B5A-A0B7-D518BB35ED36}" destId="{0D8A7AD3-BF36-4619-B3B8-052E86208C88}" srcOrd="3" destOrd="0" presId="urn:microsoft.com/office/officeart/2005/8/layout/cycle6"/>
    <dgm:cxn modelId="{DD0A13AB-10FB-4519-88EA-0DE7A474291F}" type="presParOf" srcId="{49EEE0F8-9E87-4B5A-A0B7-D518BB35ED36}" destId="{743549FE-9B5B-41A5-A357-FBB1CE94BB05}" srcOrd="4" destOrd="0" presId="urn:microsoft.com/office/officeart/2005/8/layout/cycle6"/>
    <dgm:cxn modelId="{09178213-AD5E-4871-B3FF-337A21CF4CC9}" type="presParOf" srcId="{49EEE0F8-9E87-4B5A-A0B7-D518BB35ED36}" destId="{D1A0B757-7819-4808-AAC4-F28D23E9467C}" srcOrd="5" destOrd="0" presId="urn:microsoft.com/office/officeart/2005/8/layout/cycle6"/>
    <dgm:cxn modelId="{552E3F2A-5A63-48EE-AA6E-77E2B39BA207}" type="presParOf" srcId="{49EEE0F8-9E87-4B5A-A0B7-D518BB35ED36}" destId="{27415084-477B-4F19-ABFA-AFBFC0450D3B}" srcOrd="6" destOrd="0" presId="urn:microsoft.com/office/officeart/2005/8/layout/cycle6"/>
    <dgm:cxn modelId="{F8FCCE01-9C3F-4439-9844-ABA23E912414}" type="presParOf" srcId="{49EEE0F8-9E87-4B5A-A0B7-D518BB35ED36}" destId="{69DE700C-1EAA-40F9-8081-9592747539DC}" srcOrd="7" destOrd="0" presId="urn:microsoft.com/office/officeart/2005/8/layout/cycle6"/>
    <dgm:cxn modelId="{2A254616-5816-4FF2-A74A-F0282052A80C}" type="presParOf" srcId="{49EEE0F8-9E87-4B5A-A0B7-D518BB35ED36}" destId="{C85E58DA-CFE9-4230-B4DD-642E423A03C6}" srcOrd="8" destOrd="0" presId="urn:microsoft.com/office/officeart/2005/8/layout/cycle6"/>
    <dgm:cxn modelId="{A4C90697-E9FB-4D22-AE49-7CF8AA26388A}" type="presParOf" srcId="{49EEE0F8-9E87-4B5A-A0B7-D518BB35ED36}" destId="{3439465D-FDF5-47CA-BD1B-5D9C234AC0B2}" srcOrd="9" destOrd="0" presId="urn:microsoft.com/office/officeart/2005/8/layout/cycle6"/>
    <dgm:cxn modelId="{BC9725FF-E72A-4182-B5CD-A4C6B3BD2C8C}" type="presParOf" srcId="{49EEE0F8-9E87-4B5A-A0B7-D518BB35ED36}" destId="{DC9A210B-17F9-476F-A16F-026EAEB6A4D6}" srcOrd="10" destOrd="0" presId="urn:microsoft.com/office/officeart/2005/8/layout/cycle6"/>
    <dgm:cxn modelId="{AEFCCCAF-E6D2-4852-8900-11FD118BE1E7}" type="presParOf" srcId="{49EEE0F8-9E87-4B5A-A0B7-D518BB35ED36}" destId="{F62D8993-E35D-4010-8768-9CCFDE9CEB4B}" srcOrd="11" destOrd="0" presId="urn:microsoft.com/office/officeart/2005/8/layout/cycle6"/>
    <dgm:cxn modelId="{EA7A1B62-4483-40FE-8B2E-2C4DE0A094C3}" type="presParOf" srcId="{49EEE0F8-9E87-4B5A-A0B7-D518BB35ED36}" destId="{6D933173-591E-473B-8EDD-AD68A9D6A79B}" srcOrd="12" destOrd="0" presId="urn:microsoft.com/office/officeart/2005/8/layout/cycle6"/>
    <dgm:cxn modelId="{9F8A1E90-3950-4730-8467-3BA010ECCA08}" type="presParOf" srcId="{49EEE0F8-9E87-4B5A-A0B7-D518BB35ED36}" destId="{5C469EDE-C96B-48C9-9CE9-25BB67B592E4}" srcOrd="13" destOrd="0" presId="urn:microsoft.com/office/officeart/2005/8/layout/cycle6"/>
    <dgm:cxn modelId="{2B3A1B5B-CAD2-454D-B824-2924C5474FFB}" type="presParOf" srcId="{49EEE0F8-9E87-4B5A-A0B7-D518BB35ED36}" destId="{8FFC41A3-736C-4851-BA5F-A4F70AF0CC0F}" srcOrd="14" destOrd="0" presId="urn:microsoft.com/office/officeart/2005/8/layout/cycle6"/>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03E006-ECFE-4BEA-BC4C-CE12D39CC6EA}">
      <dsp:nvSpPr>
        <dsp:cNvPr id="0" name=""/>
        <dsp:cNvSpPr/>
      </dsp:nvSpPr>
      <dsp:spPr>
        <a:xfrm>
          <a:off x="0" y="26861"/>
          <a:ext cx="3998413" cy="444600"/>
        </a:xfrm>
        <a:prstGeom prst="roundRect">
          <a:avLst/>
        </a:prstGeom>
        <a:solidFill>
          <a:schemeClr val="accent1"/>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Data Governance Act</a:t>
          </a:r>
          <a:endParaRPr lang="en-US" sz="1900" kern="1200" dirty="0"/>
        </a:p>
      </dsp:txBody>
      <dsp:txXfrm>
        <a:off x="21704" y="48565"/>
        <a:ext cx="3955005" cy="401192"/>
      </dsp:txXfrm>
    </dsp:sp>
    <dsp:sp modelId="{0BF25953-F53C-4A7F-A4AC-EF932C9C13DA}">
      <dsp:nvSpPr>
        <dsp:cNvPr id="0" name=""/>
        <dsp:cNvSpPr/>
      </dsp:nvSpPr>
      <dsp:spPr>
        <a:xfrm>
          <a:off x="0" y="471461"/>
          <a:ext cx="3998413"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95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smtClean="0"/>
            <a:t>25 Nov 2020</a:t>
          </a:r>
          <a:endParaRPr lang="en-US" sz="1500" kern="1200" dirty="0"/>
        </a:p>
      </dsp:txBody>
      <dsp:txXfrm>
        <a:off x="0" y="471461"/>
        <a:ext cx="3998413" cy="314640"/>
      </dsp:txXfrm>
    </dsp:sp>
    <dsp:sp modelId="{E0E56B3B-8C90-4E89-B671-4EA707AE2FA0}">
      <dsp:nvSpPr>
        <dsp:cNvPr id="0" name=""/>
        <dsp:cNvSpPr/>
      </dsp:nvSpPr>
      <dsp:spPr>
        <a:xfrm>
          <a:off x="0" y="786101"/>
          <a:ext cx="3998413" cy="444600"/>
        </a:xfrm>
        <a:prstGeom prst="roundRect">
          <a:avLst/>
        </a:prstGeom>
        <a:solidFill>
          <a:schemeClr val="accent2"/>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High-Value Datasets</a:t>
          </a:r>
          <a:endParaRPr lang="en-US" sz="1900" kern="1200" dirty="0"/>
        </a:p>
      </dsp:txBody>
      <dsp:txXfrm>
        <a:off x="21704" y="807805"/>
        <a:ext cx="3955005" cy="401192"/>
      </dsp:txXfrm>
    </dsp:sp>
    <dsp:sp modelId="{EEE1A241-6DC6-4804-9B3F-64BDDC58C4F0}">
      <dsp:nvSpPr>
        <dsp:cNvPr id="0" name=""/>
        <dsp:cNvSpPr/>
      </dsp:nvSpPr>
      <dsp:spPr>
        <a:xfrm>
          <a:off x="0" y="1230701"/>
          <a:ext cx="3998413"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95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smtClean="0"/>
            <a:t>2</a:t>
          </a:r>
          <a:r>
            <a:rPr lang="en-US" sz="1500" kern="1200" baseline="30000" dirty="0" smtClean="0"/>
            <a:t>nd </a:t>
          </a:r>
          <a:r>
            <a:rPr lang="en-US" sz="1500" kern="1200" dirty="0" smtClean="0"/>
            <a:t>Quarter 2022</a:t>
          </a:r>
          <a:endParaRPr lang="en-US" sz="1500" kern="1200" dirty="0"/>
        </a:p>
      </dsp:txBody>
      <dsp:txXfrm>
        <a:off x="0" y="1230701"/>
        <a:ext cx="3998413" cy="314640"/>
      </dsp:txXfrm>
    </dsp:sp>
    <dsp:sp modelId="{4D641451-AC58-4616-B51E-DC126D867355}">
      <dsp:nvSpPr>
        <dsp:cNvPr id="0" name=""/>
        <dsp:cNvSpPr/>
      </dsp:nvSpPr>
      <dsp:spPr>
        <a:xfrm>
          <a:off x="0" y="1545340"/>
          <a:ext cx="3998413" cy="444600"/>
        </a:xfrm>
        <a:prstGeom prst="roundRect">
          <a:avLst/>
        </a:prstGeom>
        <a:solidFill>
          <a:schemeClr val="tx2"/>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2390" tIns="72390" rIns="72390" bIns="72390" numCol="1" spcCol="1270" anchor="ctr" anchorCtr="0">
          <a:noAutofit/>
        </a:bodyPr>
        <a:lstStyle/>
        <a:p>
          <a:pPr lvl="0" algn="l" defTabSz="844550">
            <a:lnSpc>
              <a:spcPct val="90000"/>
            </a:lnSpc>
            <a:spcBef>
              <a:spcPct val="0"/>
            </a:spcBef>
            <a:spcAft>
              <a:spcPct val="35000"/>
            </a:spcAft>
          </a:pPr>
          <a:r>
            <a:rPr lang="en-US" sz="1900" kern="1200" dirty="0" smtClean="0"/>
            <a:t>Data Act</a:t>
          </a:r>
          <a:endParaRPr lang="en-US" sz="1900" kern="1200" dirty="0"/>
        </a:p>
      </dsp:txBody>
      <dsp:txXfrm>
        <a:off x="21704" y="1567044"/>
        <a:ext cx="3955005" cy="401192"/>
      </dsp:txXfrm>
    </dsp:sp>
    <dsp:sp modelId="{2108E9A4-9A2D-46CD-8BD9-C9629147ED99}">
      <dsp:nvSpPr>
        <dsp:cNvPr id="0" name=""/>
        <dsp:cNvSpPr/>
      </dsp:nvSpPr>
      <dsp:spPr>
        <a:xfrm>
          <a:off x="0" y="1989941"/>
          <a:ext cx="3998413" cy="31464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6950" tIns="24130" rIns="135128" bIns="24130" numCol="1" spcCol="1270" anchor="t" anchorCtr="0">
          <a:noAutofit/>
        </a:bodyPr>
        <a:lstStyle/>
        <a:p>
          <a:pPr marL="114300" lvl="1" indent="-114300" algn="l" defTabSz="666750">
            <a:lnSpc>
              <a:spcPct val="90000"/>
            </a:lnSpc>
            <a:spcBef>
              <a:spcPct val="0"/>
            </a:spcBef>
            <a:spcAft>
              <a:spcPct val="20000"/>
            </a:spcAft>
            <a:buChar char="••"/>
          </a:pPr>
          <a:r>
            <a:rPr lang="en-US" sz="1500" kern="1200" dirty="0" smtClean="0"/>
            <a:t>Proposal released on 23 Feb 2022</a:t>
          </a:r>
          <a:endParaRPr lang="en-US" sz="1500" kern="1200" dirty="0"/>
        </a:p>
      </dsp:txBody>
      <dsp:txXfrm>
        <a:off x="0" y="1989941"/>
        <a:ext cx="3998413" cy="31464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E2180B-3693-4D5E-831A-C8037A071D96}">
      <dsp:nvSpPr>
        <dsp:cNvPr id="0" name=""/>
        <dsp:cNvSpPr/>
      </dsp:nvSpPr>
      <dsp:spPr>
        <a:xfrm>
          <a:off x="4328741" y="387977"/>
          <a:ext cx="2912067" cy="1456033"/>
        </a:xfrm>
        <a:prstGeom prst="roundRect">
          <a:avLst>
            <a:gd name="adj" fmla="val 10000"/>
          </a:avLst>
        </a:prstGeom>
        <a:solidFill>
          <a:srgbClr val="0070C0">
            <a:alpha val="56000"/>
          </a:srgb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kern="1200" dirty="0" smtClean="0"/>
            <a:t>Business</a:t>
          </a:r>
          <a:endParaRPr lang="en-US" sz="3600" kern="1200" dirty="0"/>
        </a:p>
      </dsp:txBody>
      <dsp:txXfrm>
        <a:off x="4371387" y="430623"/>
        <a:ext cx="2826775" cy="1370741"/>
      </dsp:txXfrm>
    </dsp:sp>
    <dsp:sp modelId="{C4E28D38-7A77-4F65-85D6-E2D83FEE134D}">
      <dsp:nvSpPr>
        <dsp:cNvPr id="0" name=""/>
        <dsp:cNvSpPr/>
      </dsp:nvSpPr>
      <dsp:spPr>
        <a:xfrm rot="3570061">
          <a:off x="6215272" y="2562668"/>
          <a:ext cx="1906786" cy="892080"/>
        </a:xfrm>
        <a:prstGeom prst="leftRightArrow">
          <a:avLst>
            <a:gd name="adj1" fmla="val 60000"/>
            <a:gd name="adj2" fmla="val 50000"/>
          </a:avLst>
        </a:prstGeom>
        <a:solidFill>
          <a:srgbClr val="70AEDC"/>
        </a:soli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r>
            <a:rPr lang="en-US" sz="2100" kern="1200" dirty="0" smtClean="0"/>
            <a:t>B2G / G2B</a:t>
          </a:r>
          <a:endParaRPr lang="en-US" sz="2100" kern="1200" dirty="0"/>
        </a:p>
      </dsp:txBody>
      <dsp:txXfrm>
        <a:off x="6482896" y="2741084"/>
        <a:ext cx="1371538" cy="535248"/>
      </dsp:txXfrm>
    </dsp:sp>
    <dsp:sp modelId="{A7CCB533-E6E9-4360-8B73-78C0B37CFA5C}">
      <dsp:nvSpPr>
        <dsp:cNvPr id="0" name=""/>
        <dsp:cNvSpPr/>
      </dsp:nvSpPr>
      <dsp:spPr>
        <a:xfrm>
          <a:off x="6558438" y="4173406"/>
          <a:ext cx="2912067" cy="1456033"/>
        </a:xfrm>
        <a:prstGeom prst="roundRect">
          <a:avLst>
            <a:gd name="adj" fmla="val 10000"/>
          </a:avLst>
        </a:prstGeom>
        <a:solidFill>
          <a:schemeClr val="bg2"/>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kern="1200" dirty="0" smtClean="0"/>
            <a:t>Government</a:t>
          </a:r>
          <a:endParaRPr lang="en-US" sz="3600" kern="1200" dirty="0"/>
        </a:p>
      </dsp:txBody>
      <dsp:txXfrm>
        <a:off x="6601084" y="4216052"/>
        <a:ext cx="2826775" cy="1370741"/>
      </dsp:txXfrm>
    </dsp:sp>
    <dsp:sp modelId="{225C6AA8-E5A3-40E7-A677-FD50CA8FD628}">
      <dsp:nvSpPr>
        <dsp:cNvPr id="0" name=""/>
        <dsp:cNvSpPr/>
      </dsp:nvSpPr>
      <dsp:spPr>
        <a:xfrm rot="10826235">
          <a:off x="4771020" y="4526933"/>
          <a:ext cx="1787565" cy="713115"/>
        </a:xfrm>
        <a:prstGeom prst="leftRightArrow">
          <a:avLst>
            <a:gd name="adj1" fmla="val 60000"/>
            <a:gd name="adj2" fmla="val 50000"/>
          </a:avLst>
        </a:prstGeom>
        <a:solidFill>
          <a:schemeClr val="bg2"/>
        </a:soli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r>
            <a:rPr lang="en-US" sz="2100" kern="1200" dirty="0" smtClean="0"/>
            <a:t>C2G / G2C</a:t>
          </a:r>
          <a:endParaRPr lang="en-US" sz="2100" kern="1200" dirty="0"/>
        </a:p>
      </dsp:txBody>
      <dsp:txXfrm rot="10800000">
        <a:off x="4984954" y="4669556"/>
        <a:ext cx="1359696" cy="427869"/>
      </dsp:txXfrm>
    </dsp:sp>
    <dsp:sp modelId="{309B156F-38A1-4323-A5A0-16D2B7DBF7E6}">
      <dsp:nvSpPr>
        <dsp:cNvPr id="0" name=""/>
        <dsp:cNvSpPr/>
      </dsp:nvSpPr>
      <dsp:spPr>
        <a:xfrm>
          <a:off x="1859100" y="4137542"/>
          <a:ext cx="2912067" cy="1456033"/>
        </a:xfrm>
        <a:prstGeom prst="roundRect">
          <a:avLst>
            <a:gd name="adj" fmla="val 10000"/>
          </a:avLst>
        </a:prstGeom>
        <a:solidFill>
          <a:schemeClr val="accent5">
            <a:lumMod val="60000"/>
            <a:lumOff val="40000"/>
          </a:schemeClr>
        </a:solidFill>
        <a:ln>
          <a:noFill/>
        </a:ln>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137160" tIns="137160" rIns="137160" bIns="137160" numCol="1" spcCol="1270" anchor="ctr" anchorCtr="0">
          <a:noAutofit/>
        </a:bodyPr>
        <a:lstStyle/>
        <a:p>
          <a:pPr lvl="0" algn="ctr" defTabSz="1600200">
            <a:lnSpc>
              <a:spcPct val="90000"/>
            </a:lnSpc>
            <a:spcBef>
              <a:spcPct val="0"/>
            </a:spcBef>
            <a:spcAft>
              <a:spcPct val="35000"/>
            </a:spcAft>
          </a:pPr>
          <a:r>
            <a:rPr lang="en-US" sz="3600" kern="1200" dirty="0" smtClean="0"/>
            <a:t>Citizen</a:t>
          </a:r>
          <a:endParaRPr lang="en-US" sz="3600" kern="1200" dirty="0"/>
        </a:p>
      </dsp:txBody>
      <dsp:txXfrm>
        <a:off x="1901746" y="4180188"/>
        <a:ext cx="2826775" cy="1370741"/>
      </dsp:txXfrm>
    </dsp:sp>
    <dsp:sp modelId="{E06BD120-F11D-4154-B0CD-025A961E2352}">
      <dsp:nvSpPr>
        <dsp:cNvPr id="0" name=""/>
        <dsp:cNvSpPr/>
      </dsp:nvSpPr>
      <dsp:spPr>
        <a:xfrm rot="18202247">
          <a:off x="3331880" y="2610450"/>
          <a:ext cx="1629194" cy="760651"/>
        </a:xfrm>
        <a:prstGeom prst="leftRightArrow">
          <a:avLst>
            <a:gd name="adj1" fmla="val 60000"/>
            <a:gd name="adj2" fmla="val 50000"/>
          </a:avLst>
        </a:prstGeom>
        <a:solidFill>
          <a:schemeClr val="accent5">
            <a:lumMod val="60000"/>
            <a:lumOff val="40000"/>
          </a:schemeClr>
        </a:solidFill>
        <a:ln>
          <a:noFill/>
        </a:ln>
        <a:effectLst/>
      </dsp:spPr>
      <dsp:style>
        <a:lnRef idx="0">
          <a:scrgbClr r="0" g="0" b="0"/>
        </a:lnRef>
        <a:fillRef idx="2">
          <a:scrgbClr r="0" g="0" b="0"/>
        </a:fillRef>
        <a:effectRef idx="1">
          <a:scrgbClr r="0" g="0" b="0"/>
        </a:effectRef>
        <a:fontRef idx="minor">
          <a:schemeClr val="dk1"/>
        </a:fontRef>
      </dsp:style>
      <dsp:txBody>
        <a:bodyPr spcFirstLastPara="0" vert="horz" wrap="square" lIns="0" tIns="0" rIns="0" bIns="0" numCol="1" spcCol="1270" anchor="ctr" anchorCtr="0">
          <a:noAutofit/>
        </a:bodyPr>
        <a:lstStyle/>
        <a:p>
          <a:pPr lvl="0" algn="ctr" defTabSz="933450">
            <a:lnSpc>
              <a:spcPct val="90000"/>
            </a:lnSpc>
            <a:spcBef>
              <a:spcPct val="0"/>
            </a:spcBef>
            <a:spcAft>
              <a:spcPct val="35000"/>
            </a:spcAft>
          </a:pPr>
          <a:r>
            <a:rPr lang="en-US" sz="2100" kern="1200" dirty="0" smtClean="0"/>
            <a:t>C2B</a:t>
          </a:r>
          <a:endParaRPr lang="en-US" sz="2100" kern="1200" dirty="0"/>
        </a:p>
      </dsp:txBody>
      <dsp:txXfrm>
        <a:off x="3560075" y="2762580"/>
        <a:ext cx="1172804" cy="45639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5646D20-651C-41B7-8983-4BDBCCD0D6C0}">
      <dsp:nvSpPr>
        <dsp:cNvPr id="0" name=""/>
        <dsp:cNvSpPr/>
      </dsp:nvSpPr>
      <dsp:spPr>
        <a:xfrm>
          <a:off x="2024781" y="177"/>
          <a:ext cx="1450108" cy="94257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Challenges &amp; prizes</a:t>
          </a:r>
          <a:endParaRPr lang="en-US" sz="1800" b="1" kern="1200" dirty="0"/>
        </a:p>
      </dsp:txBody>
      <dsp:txXfrm>
        <a:off x="2070793" y="46189"/>
        <a:ext cx="1358084" cy="850546"/>
      </dsp:txXfrm>
    </dsp:sp>
    <dsp:sp modelId="{36CE8B1A-A28C-42C3-B216-5B1AEB615039}">
      <dsp:nvSpPr>
        <dsp:cNvPr id="0" name=""/>
        <dsp:cNvSpPr/>
      </dsp:nvSpPr>
      <dsp:spPr>
        <a:xfrm>
          <a:off x="866901" y="471462"/>
          <a:ext cx="3765868" cy="3765868"/>
        </a:xfrm>
        <a:custGeom>
          <a:avLst/>
          <a:gdLst/>
          <a:ahLst/>
          <a:cxnLst/>
          <a:rect l="0" t="0" r="0" b="0"/>
          <a:pathLst>
            <a:path>
              <a:moveTo>
                <a:pt x="2617947" y="149383"/>
              </a:moveTo>
              <a:arcTo wR="1882934" hR="1882934" stAng="17578596" swAng="1961193"/>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0D8A7AD3-BF36-4619-B3B8-052E86208C88}">
      <dsp:nvSpPr>
        <dsp:cNvPr id="0" name=""/>
        <dsp:cNvSpPr/>
      </dsp:nvSpPr>
      <dsp:spPr>
        <a:xfrm>
          <a:off x="3815558" y="1301252"/>
          <a:ext cx="1450108" cy="94257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Hackathon</a:t>
          </a:r>
          <a:endParaRPr lang="en-US" sz="1600" b="1" kern="1200" dirty="0"/>
        </a:p>
      </dsp:txBody>
      <dsp:txXfrm>
        <a:off x="3861570" y="1347264"/>
        <a:ext cx="1358084" cy="850546"/>
      </dsp:txXfrm>
    </dsp:sp>
    <dsp:sp modelId="{D1A0B757-7819-4808-AAC4-F28D23E9467C}">
      <dsp:nvSpPr>
        <dsp:cNvPr id="0" name=""/>
        <dsp:cNvSpPr/>
      </dsp:nvSpPr>
      <dsp:spPr>
        <a:xfrm>
          <a:off x="866901" y="471462"/>
          <a:ext cx="3765868" cy="3765868"/>
        </a:xfrm>
        <a:custGeom>
          <a:avLst/>
          <a:gdLst/>
          <a:ahLst/>
          <a:cxnLst/>
          <a:rect l="0" t="0" r="0" b="0"/>
          <a:pathLst>
            <a:path>
              <a:moveTo>
                <a:pt x="3763288" y="1784395"/>
              </a:moveTo>
              <a:arcTo wR="1882934" hR="1882934" stAng="21420012" swAng="2196038"/>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7415084-477B-4F19-ABFA-AFBFC0450D3B}">
      <dsp:nvSpPr>
        <dsp:cNvPr id="0" name=""/>
        <dsp:cNvSpPr/>
      </dsp:nvSpPr>
      <dsp:spPr>
        <a:xfrm>
          <a:off x="3131542" y="3406437"/>
          <a:ext cx="1450108" cy="94257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Piloting</a:t>
          </a:r>
          <a:endParaRPr lang="en-US" sz="1800" b="1" kern="1200" dirty="0"/>
        </a:p>
      </dsp:txBody>
      <dsp:txXfrm>
        <a:off x="3177554" y="3452449"/>
        <a:ext cx="1358084" cy="850546"/>
      </dsp:txXfrm>
    </dsp:sp>
    <dsp:sp modelId="{C85E58DA-CFE9-4230-B4DD-642E423A03C6}">
      <dsp:nvSpPr>
        <dsp:cNvPr id="0" name=""/>
        <dsp:cNvSpPr/>
      </dsp:nvSpPr>
      <dsp:spPr>
        <a:xfrm>
          <a:off x="866901" y="471462"/>
          <a:ext cx="3765868" cy="3765868"/>
        </a:xfrm>
        <a:custGeom>
          <a:avLst/>
          <a:gdLst/>
          <a:ahLst/>
          <a:cxnLst/>
          <a:rect l="0" t="0" r="0" b="0"/>
          <a:pathLst>
            <a:path>
              <a:moveTo>
                <a:pt x="2257162" y="3728305"/>
              </a:moveTo>
              <a:arcTo wR="1882934" hR="1882934" stAng="4712177" swAng="1375645"/>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439465D-FDF5-47CA-BD1B-5D9C234AC0B2}">
      <dsp:nvSpPr>
        <dsp:cNvPr id="0" name=""/>
        <dsp:cNvSpPr/>
      </dsp:nvSpPr>
      <dsp:spPr>
        <a:xfrm>
          <a:off x="918020" y="3406437"/>
          <a:ext cx="1450108" cy="94257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1" kern="1200" dirty="0" smtClean="0"/>
            <a:t>Research grants</a:t>
          </a:r>
          <a:endParaRPr lang="en-US" sz="1800" b="1" kern="1200" dirty="0"/>
        </a:p>
      </dsp:txBody>
      <dsp:txXfrm>
        <a:off x="964032" y="3452449"/>
        <a:ext cx="1358084" cy="850546"/>
      </dsp:txXfrm>
    </dsp:sp>
    <dsp:sp modelId="{F62D8993-E35D-4010-8768-9CCFDE9CEB4B}">
      <dsp:nvSpPr>
        <dsp:cNvPr id="0" name=""/>
        <dsp:cNvSpPr/>
      </dsp:nvSpPr>
      <dsp:spPr>
        <a:xfrm>
          <a:off x="866901" y="471462"/>
          <a:ext cx="3765868" cy="3765868"/>
        </a:xfrm>
        <a:custGeom>
          <a:avLst/>
          <a:gdLst/>
          <a:ahLst/>
          <a:cxnLst/>
          <a:rect l="0" t="0" r="0" b="0"/>
          <a:pathLst>
            <a:path>
              <a:moveTo>
                <a:pt x="314613" y="2924956"/>
              </a:moveTo>
              <a:arcTo wR="1882934" hR="1882934" stAng="8783950" swAng="2196038"/>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D933173-591E-473B-8EDD-AD68A9D6A79B}">
      <dsp:nvSpPr>
        <dsp:cNvPr id="0" name=""/>
        <dsp:cNvSpPr/>
      </dsp:nvSpPr>
      <dsp:spPr>
        <a:xfrm>
          <a:off x="234004" y="1301252"/>
          <a:ext cx="1450108" cy="942570"/>
        </a:xfrm>
        <a:prstGeom prst="round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b="1" kern="1200" dirty="0" smtClean="0"/>
            <a:t>Ecosystem building (innovation labs)</a:t>
          </a:r>
          <a:endParaRPr lang="en-US" sz="1600" b="1" kern="1200" dirty="0"/>
        </a:p>
      </dsp:txBody>
      <dsp:txXfrm>
        <a:off x="280016" y="1347264"/>
        <a:ext cx="1358084" cy="850546"/>
      </dsp:txXfrm>
    </dsp:sp>
    <dsp:sp modelId="{8FFC41A3-736C-4851-BA5F-A4F70AF0CC0F}">
      <dsp:nvSpPr>
        <dsp:cNvPr id="0" name=""/>
        <dsp:cNvSpPr/>
      </dsp:nvSpPr>
      <dsp:spPr>
        <a:xfrm>
          <a:off x="866901" y="471462"/>
          <a:ext cx="3765868" cy="3765868"/>
        </a:xfrm>
        <a:custGeom>
          <a:avLst/>
          <a:gdLst/>
          <a:ahLst/>
          <a:cxnLst/>
          <a:rect l="0" t="0" r="0" b="0"/>
          <a:pathLst>
            <a:path>
              <a:moveTo>
                <a:pt x="328128" y="820851"/>
              </a:moveTo>
              <a:arcTo wR="1882934" hR="1882934" stAng="12860211" swAng="1961193"/>
            </a:path>
          </a:pathLst>
        </a:custGeom>
        <a:noFill/>
        <a:ln w="6350" cap="flat" cmpd="sng" algn="ctr">
          <a:solidFill>
            <a:schemeClr val="accent5">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7">
  <dgm:title val=""/>
  <dgm:desc val=""/>
  <dgm:catLst>
    <dgm:cat type="cycle" pri="6000"/>
  </dgm:catLst>
  <dgm:sampData>
    <dgm:dataModel>
      <dgm:ptLst>
        <dgm:pt modelId="0" type="doc"/>
        <dgm:pt modelId="1">
          <dgm:prSet phldr="1"/>
        </dgm:pt>
        <dgm:pt modelId="2">
          <dgm:prSet phldr="1"/>
        </dgm:pt>
        <dgm:pt modelId="3">
          <dgm:prSet phldr="1"/>
        </dgm:pt>
      </dgm:ptLst>
      <dgm:cxnLst>
        <dgm:cxn modelId="6" srcId="0" destId="1" srcOrd="0" destOrd="0"/>
        <dgm:cxn modelId="7" srcId="0" destId="2" srcOrd="1" destOrd="0"/>
        <dgm:cxn modelId="8" srcId="0" destId="3" srcOrd="2"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val="exact"/>
    </dgm:varLst>
    <dgm:choose name="Name1">
      <dgm:if name="Name2" func="var" arg="dir" op="equ" val="norm">
        <dgm:alg type="cycle">
          <dgm:param type="stAng" val="0"/>
          <dgm:param type="spanAng" val="360"/>
        </dgm:alg>
      </dgm:if>
      <dgm:else name="Name3">
        <dgm:alg type="cycle">
          <dgm:param type="stAng" val="0"/>
          <dgm:param type="spanAng" val="-360"/>
        </dgm:alg>
      </dgm:else>
    </dgm:choose>
    <dgm:shape xmlns:r="http://schemas.openxmlformats.org/officeDocument/2006/relationships" r:blip="">
      <dgm:adjLst/>
    </dgm:shape>
    <dgm:presOf/>
    <dgm:constrLst>
      <dgm:constr type="diam" refType="w"/>
      <dgm:constr type="w" for="ch" ptType="node" refType="w"/>
      <dgm:constr type="primFontSz" for="ch" ptType="node" op="equ" val="65"/>
      <dgm:constr type="w" for="ch" forName="sibTrans" refType="w" refFor="ch" refPtType="node" op="equ" fact="0.35"/>
      <dgm:constr type="connDist" for="ch" forName="sibTrans" op="equ"/>
      <dgm:constr type="primFontSz" for="des" forName="connectorText" op="equ" val="55"/>
      <dgm:constr type="primFontSz" for="des" forName="connectorText" refType="primFontSz" refFor="ch" refPtType="node" op="lte" fact="0.8"/>
      <dgm:constr type="sibSp" refType="w" refFor="ch" refPtType="node" op="equ" fact="0.65"/>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4">
        <dgm:if name="Name5" axis="par ch" ptType="doc node" func="cnt" op="gt" val="1">
          <dgm:forEach name="sibTransForEach" axis="followSib" ptType="sibTrans" hideLastTrans="0" cnt="1">
            <dgm:layoutNode name="sibTrans">
              <dgm:choose name="Name6">
                <dgm:if name="Name7" axis="par ch" ptType="doc node" func="posEven" op="equ" val="1">
                  <dgm:alg type="conn">
                    <dgm:param type="begPts" val="radial"/>
                    <dgm:param type="endPts" val="radial"/>
                    <dgm:param type="begSty" val="arr"/>
                    <dgm:param type="endSty" val="arr"/>
                  </dgm:alg>
                </dgm:if>
                <dgm:else name="Name8">
                  <dgm:alg type="conn">
                    <dgm:param type="begPts" val="auto"/>
                    <dgm:param type="endPts" val="auto"/>
                    <dgm:param type="begSty" val="arr"/>
                    <dgm:param type="endSty" val="arr"/>
                  </dgm:alg>
                </dgm:else>
              </dgm:choose>
              <dgm:shape xmlns:r="http://schemas.openxmlformats.org/officeDocument/2006/relationships" type="conn" r:blip="">
                <dgm:adjLst/>
              </dgm:shape>
              <dgm:presOf axis="self"/>
              <dgm:constrLst>
                <dgm:constr type="h" refType="w" fact="0.5"/>
                <dgm:constr type="connDist"/>
                <dgm:constr type="begPad" refType="connDist" fact="0.1"/>
                <dgm:constr type="endPad" refType="connDist" fact="0.1"/>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9"/>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4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3A939EFE-0303-44F6-9A16-FD3B5E015DB1}" type="datetimeFigureOut">
              <a:rPr lang="en-GB" smtClean="0"/>
              <a:t>29/03/2022</a:t>
            </a:fld>
            <a:endParaRPr lang="en-GB"/>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C4F04766-77AF-4EBE-9704-229FD5F6AD6A}" type="slidenum">
              <a:rPr lang="en-GB" smtClean="0"/>
              <a:t>‹#›</a:t>
            </a:fld>
            <a:endParaRPr lang="en-GB"/>
          </a:p>
        </p:txBody>
      </p:sp>
    </p:spTree>
    <p:extLst>
      <p:ext uri="{BB962C8B-B14F-4D97-AF65-F5344CB8AC3E}">
        <p14:creationId xmlns:p14="http://schemas.microsoft.com/office/powerpoint/2010/main" val="378898812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3B926D1-0013-4A80-B64E-9D824EE65210}" type="datetimeFigureOut">
              <a:rPr lang="en-GB" smtClean="0"/>
              <a:t>29/03/2022</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59CF2995-AB43-4B7C-B8CD-9DC7C3692A9C}" type="slidenum">
              <a:rPr lang="en-GB" smtClean="0"/>
              <a:t>‹#›</a:t>
            </a:fld>
            <a:endParaRPr lang="en-GB"/>
          </a:p>
        </p:txBody>
      </p:sp>
    </p:spTree>
    <p:extLst>
      <p:ext uri="{BB962C8B-B14F-4D97-AF65-F5344CB8AC3E}">
        <p14:creationId xmlns:p14="http://schemas.microsoft.com/office/powerpoint/2010/main" val="146078466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800" kern="1200" dirty="0" smtClean="0">
                <a:solidFill>
                  <a:schemeClr val="tx1"/>
                </a:solidFill>
                <a:effectLst/>
                <a:latin typeface="+mn-lt"/>
                <a:ea typeface="+mn-ea"/>
                <a:cs typeface="+mn-cs"/>
              </a:rPr>
              <a:t>Abstract for the presentation</a:t>
            </a:r>
            <a:endParaRPr lang="en-IE" sz="800" kern="1200" dirty="0" smtClean="0">
              <a:solidFill>
                <a:schemeClr val="tx1"/>
              </a:solidFill>
              <a:effectLst/>
              <a:latin typeface="+mn-lt"/>
              <a:ea typeface="+mn-ea"/>
              <a:cs typeface="+mn-cs"/>
            </a:endParaRPr>
          </a:p>
          <a:p>
            <a:r>
              <a:rPr lang="en-GB" sz="800" b="1" kern="1200" dirty="0" smtClean="0">
                <a:solidFill>
                  <a:schemeClr val="tx1"/>
                </a:solidFill>
                <a:effectLst/>
                <a:latin typeface="+mn-lt"/>
                <a:ea typeface="+mn-ea"/>
                <a:cs typeface="+mn-cs"/>
              </a:rPr>
              <a:t>Addressing the paradigm shift : </a:t>
            </a:r>
            <a:r>
              <a:rPr lang="en-GB" sz="800" kern="1200" dirty="0" smtClean="0">
                <a:solidFill>
                  <a:schemeClr val="tx1"/>
                </a:solidFill>
                <a:effectLst/>
                <a:latin typeface="+mn-lt"/>
                <a:ea typeface="+mn-ea"/>
                <a:cs typeface="+mn-cs"/>
              </a:rPr>
              <a:t>Methodological investment priorities for the medium term</a:t>
            </a:r>
            <a:endParaRPr lang="en-IE" sz="800" kern="1200" dirty="0" smtClean="0">
              <a:solidFill>
                <a:schemeClr val="tx1"/>
              </a:solidFill>
              <a:effectLst/>
              <a:latin typeface="+mn-lt"/>
              <a:ea typeface="+mn-ea"/>
              <a:cs typeface="+mn-cs"/>
            </a:endParaRPr>
          </a:p>
          <a:p>
            <a:r>
              <a:rPr lang="en-IE" sz="800" kern="1200" dirty="0" smtClean="0">
                <a:solidFill>
                  <a:schemeClr val="tx1"/>
                </a:solidFill>
                <a:effectLst/>
                <a:latin typeface="+mn-lt"/>
                <a:ea typeface="+mn-ea"/>
                <a:cs typeface="+mn-cs"/>
              </a:rPr>
              <a:t>Emanuele Baldacci</a:t>
            </a:r>
          </a:p>
          <a:p>
            <a:r>
              <a:rPr lang="en-IE" sz="800" kern="1200" dirty="0" smtClean="0">
                <a:solidFill>
                  <a:schemeClr val="tx1"/>
                </a:solidFill>
                <a:effectLst/>
                <a:latin typeface="+mn-lt"/>
                <a:ea typeface="+mn-ea"/>
                <a:cs typeface="+mn-cs"/>
              </a:rPr>
              <a:t>Director Eurostat - Dir A Resources - CIO </a:t>
            </a:r>
          </a:p>
          <a:p>
            <a:r>
              <a:rPr lang="en-GB" sz="800" kern="1200" dirty="0" smtClean="0">
                <a:solidFill>
                  <a:schemeClr val="tx1"/>
                </a:solidFill>
                <a:effectLst/>
                <a:latin typeface="+mn-lt"/>
                <a:ea typeface="+mn-ea"/>
                <a:cs typeface="+mn-cs"/>
              </a:rPr>
              <a:t>The aim of the presentation is to identify and discuss the key methodological challenges for the next 5 years putting the focus where ESS collaboration is needed.  </a:t>
            </a:r>
            <a:endParaRPr lang="en-IE" sz="800" kern="1200" dirty="0" smtClean="0">
              <a:solidFill>
                <a:schemeClr val="tx1"/>
              </a:solidFill>
              <a:effectLst/>
              <a:latin typeface="+mn-lt"/>
              <a:ea typeface="+mn-ea"/>
              <a:cs typeface="+mn-cs"/>
            </a:endParaRPr>
          </a:p>
          <a:p>
            <a:r>
              <a:rPr lang="en-IE" sz="800" kern="1200" dirty="0" smtClean="0">
                <a:solidFill>
                  <a:schemeClr val="tx1"/>
                </a:solidFill>
                <a:effectLst/>
                <a:latin typeface="+mn-lt"/>
                <a:ea typeface="+mn-ea"/>
                <a:cs typeface="+mn-cs"/>
              </a:rPr>
              <a:t>The presentation will start recalling the context in which methodological innovation will take place in the ESS in particular the setting up of an ESS innovation agenda. This initiative launched by the ESSC aims at streamlining and accelerating innovation carried out by various actors in ESS. This innovation should address the most pressing business needs </a:t>
            </a:r>
            <a:r>
              <a:rPr lang="en-IE" sz="800" kern="1200" dirty="0" err="1" smtClean="0">
                <a:solidFill>
                  <a:schemeClr val="tx1"/>
                </a:solidFill>
                <a:effectLst/>
                <a:latin typeface="+mn-lt"/>
                <a:ea typeface="+mn-ea"/>
                <a:cs typeface="+mn-cs"/>
              </a:rPr>
              <a:t>i.e</a:t>
            </a:r>
            <a:r>
              <a:rPr lang="en-IE" sz="800" kern="1200" dirty="0" smtClean="0">
                <a:solidFill>
                  <a:schemeClr val="tx1"/>
                </a:solidFill>
                <a:effectLst/>
                <a:latin typeface="+mn-lt"/>
                <a:ea typeface="+mn-ea"/>
                <a:cs typeface="+mn-cs"/>
              </a:rPr>
              <a:t> gaining in efficiency to free resources to innovate in new statistical products to cover and deepen our understanding of new phenomena taking benefit of new technologies and advanced methods.</a:t>
            </a:r>
          </a:p>
          <a:p>
            <a:r>
              <a:rPr lang="en-IE" sz="800" kern="1200" dirty="0" smtClean="0">
                <a:solidFill>
                  <a:schemeClr val="tx1"/>
                </a:solidFill>
                <a:effectLst/>
                <a:latin typeface="+mn-lt"/>
                <a:ea typeface="+mn-ea"/>
                <a:cs typeface="+mn-cs"/>
              </a:rPr>
              <a:t>The presentation will point towards few of  the key methodological challenges and opportunities ahead for the compilation of the new generation of official statistics in particular those originating from the incorporation of new modes of data collection based on smart devices and the use non-traditional data sources.  These innovations would  reduce the data collection burden and contribute to the fight against declining survey response rates. They will require new approaches finding innovative ways to engage citizen and businesses to reuse and support the integration of the data produced by their interaction with their digital ecosystem into </a:t>
            </a:r>
            <a:r>
              <a:rPr lang="en-IE" sz="800" kern="1200" dirty="0" err="1" smtClean="0">
                <a:solidFill>
                  <a:schemeClr val="tx1"/>
                </a:solidFill>
                <a:effectLst/>
                <a:latin typeface="+mn-lt"/>
                <a:ea typeface="+mn-ea"/>
                <a:cs typeface="+mn-cs"/>
              </a:rPr>
              <a:t>offical</a:t>
            </a:r>
            <a:r>
              <a:rPr lang="en-IE" sz="800" kern="1200" dirty="0" smtClean="0">
                <a:solidFill>
                  <a:schemeClr val="tx1"/>
                </a:solidFill>
                <a:effectLst/>
                <a:latin typeface="+mn-lt"/>
                <a:ea typeface="+mn-ea"/>
                <a:cs typeface="+mn-cs"/>
              </a:rPr>
              <a:t> statistics production. These new modes for data collection are enabled because of the power of new algorithms to extract information from unstructured information’s (text, speech, images, device signal… ). </a:t>
            </a:r>
          </a:p>
          <a:p>
            <a:r>
              <a:rPr lang="en-IE" sz="800" kern="1200" dirty="0" smtClean="0">
                <a:solidFill>
                  <a:schemeClr val="tx1"/>
                </a:solidFill>
                <a:effectLst/>
                <a:latin typeface="+mn-lt"/>
                <a:ea typeface="+mn-ea"/>
                <a:cs typeface="+mn-cs"/>
              </a:rPr>
              <a:t>The paradigm change will need to be prepared by upskilling a new generation of official statisticians enabling them to take benefit from the new toolbox that developments in  computer science offer to them. It also needs to be accompanied by a significant extension of  quality framework  to monitor the quality of statistical outputs compiled by combining the many data sources and channels.   It also require new modes of organisation to deliver faster and in a more agile way.</a:t>
            </a:r>
          </a:p>
          <a:p>
            <a:r>
              <a:rPr lang="en-IE" sz="800" kern="1200" dirty="0" smtClean="0">
                <a:solidFill>
                  <a:schemeClr val="tx1"/>
                </a:solidFill>
                <a:effectLst/>
                <a:latin typeface="+mn-lt"/>
                <a:ea typeface="+mn-ea"/>
                <a:cs typeface="+mn-cs"/>
              </a:rPr>
              <a:t> </a:t>
            </a:r>
          </a:p>
          <a:p>
            <a:r>
              <a:rPr lang="en-IE" sz="800" kern="1200" dirty="0" smtClean="0">
                <a:solidFill>
                  <a:schemeClr val="tx1"/>
                </a:solidFill>
                <a:effectLst/>
                <a:latin typeface="+mn-lt"/>
                <a:ea typeface="+mn-ea"/>
                <a:cs typeface="+mn-cs"/>
              </a:rPr>
              <a:t>The presentation will conclude by opening up for discussion on the need and possible modes to engage broader communities beyond official statisticians and how to scale up to the entire ESS innovations carried out at national level.</a:t>
            </a:r>
          </a:p>
          <a:p>
            <a:endParaRPr lang="en-IE" sz="800" dirty="0"/>
          </a:p>
        </p:txBody>
      </p:sp>
      <p:sp>
        <p:nvSpPr>
          <p:cNvPr id="4" name="Slide Number Placeholder 3"/>
          <p:cNvSpPr>
            <a:spLocks noGrp="1"/>
          </p:cNvSpPr>
          <p:nvPr>
            <p:ph type="sldNum" sz="quarter" idx="10"/>
          </p:nvPr>
        </p:nvSpPr>
        <p:spPr/>
        <p:txBody>
          <a:bodyPr/>
          <a:lstStyle/>
          <a:p>
            <a:fld id="{59CF2995-AB43-4B7C-B8CD-9DC7C3692A9C}" type="slidenum">
              <a:rPr lang="en-GB" smtClean="0"/>
              <a:t>1</a:t>
            </a:fld>
            <a:endParaRPr lang="en-GB"/>
          </a:p>
        </p:txBody>
      </p:sp>
    </p:spTree>
    <p:extLst>
      <p:ext uri="{BB962C8B-B14F-4D97-AF65-F5344CB8AC3E}">
        <p14:creationId xmlns:p14="http://schemas.microsoft.com/office/powerpoint/2010/main" val="19410681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Image Placeholder 3">
            <a:extLst>
              <a:ext uri="{FF2B5EF4-FFF2-40B4-BE49-F238E27FC236}">
                <a16:creationId xmlns:a16="http://schemas.microsoft.com/office/drawing/2014/main" id="{C90B31AB-58D4-4434-81DC-81F694FCD34C}"/>
              </a:ext>
            </a:extLst>
          </p:cNvPr>
          <p:cNvSpPr>
            <a:spLocks noGrp="1" noRot="1" noChangeAspect="1"/>
          </p:cNvSpPr>
          <p:nvPr>
            <p:ph type="sldImg"/>
          </p:nvPr>
        </p:nvSpPr>
        <p:spPr>
          <a:xfrm>
            <a:off x="1139825" y="747713"/>
            <a:ext cx="5035550" cy="2832100"/>
          </a:xfrm>
        </p:spPr>
      </p:sp>
      <p:sp>
        <p:nvSpPr>
          <p:cNvPr id="5" name="Notes Placeholder 4">
            <a:extLst>
              <a:ext uri="{FF2B5EF4-FFF2-40B4-BE49-F238E27FC236}">
                <a16:creationId xmlns:a16="http://schemas.microsoft.com/office/drawing/2014/main" id="{E4E13754-3C27-424F-B68D-25CCCC8420C5}"/>
              </a:ext>
            </a:extLst>
          </p:cNvPr>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1832121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en-IE" dirty="0" smtClean="0"/>
          </a:p>
          <a:p>
            <a:r>
              <a:rPr lang="en-GB" dirty="0" err="1" smtClean="0"/>
              <a:t>Metaphore</a:t>
            </a:r>
            <a:r>
              <a:rPr lang="en-GB" baseline="0" dirty="0" smtClean="0"/>
              <a:t> :</a:t>
            </a:r>
            <a:r>
              <a:rPr lang="en-GB" dirty="0" smtClean="0"/>
              <a:t>“data is</a:t>
            </a:r>
            <a:r>
              <a:rPr lang="en-GB" baseline="0" dirty="0" smtClean="0"/>
              <a:t> like water”, then “</a:t>
            </a:r>
            <a:r>
              <a:rPr lang="en-GB" dirty="0" smtClean="0"/>
              <a:t>official statistics is like</a:t>
            </a:r>
            <a:r>
              <a:rPr lang="en-GB" baseline="0" dirty="0" smtClean="0"/>
              <a:t> </a:t>
            </a:r>
            <a:r>
              <a:rPr lang="en-GB" u="sng" baseline="0" dirty="0" smtClean="0"/>
              <a:t>drinking</a:t>
            </a:r>
            <a:r>
              <a:rPr lang="en-GB" baseline="0" dirty="0" smtClean="0"/>
              <a:t> water” (trustworthy) </a:t>
            </a:r>
            <a:r>
              <a:rPr lang="mr-IN" baseline="0" dirty="0" smtClean="0"/>
              <a:t>…</a:t>
            </a:r>
            <a:r>
              <a:rPr lang="it-IT" baseline="0" dirty="0" smtClean="0"/>
              <a:t> </a:t>
            </a:r>
            <a:r>
              <a:rPr lang="it-IT" baseline="0" dirty="0" err="1" smtClean="0"/>
              <a:t>official</a:t>
            </a:r>
            <a:r>
              <a:rPr lang="it-IT" baseline="0" dirty="0" smtClean="0"/>
              <a:t> </a:t>
            </a:r>
            <a:r>
              <a:rPr lang="it-IT" baseline="0" dirty="0" err="1" smtClean="0"/>
              <a:t>statistics</a:t>
            </a:r>
            <a:r>
              <a:rPr lang="it-IT" baseline="0" dirty="0" smtClean="0"/>
              <a:t> </a:t>
            </a:r>
            <a:r>
              <a:rPr lang="it-IT" baseline="0" dirty="0" err="1" smtClean="0"/>
              <a:t>is</a:t>
            </a:r>
            <a:r>
              <a:rPr lang="it-IT" baseline="0" dirty="0" smtClean="0"/>
              <a:t> </a:t>
            </a:r>
            <a:r>
              <a:rPr lang="it-IT" baseline="0" dirty="0" err="1" smtClean="0"/>
              <a:t>not</a:t>
            </a:r>
            <a:r>
              <a:rPr lang="it-IT" baseline="0" dirty="0" smtClean="0"/>
              <a:t> </a:t>
            </a:r>
            <a:r>
              <a:rPr lang="it-IT" baseline="0" dirty="0" err="1" smtClean="0"/>
              <a:t>less</a:t>
            </a:r>
            <a:r>
              <a:rPr lang="it-IT" baseline="0" dirty="0" smtClean="0"/>
              <a:t> </a:t>
            </a:r>
            <a:r>
              <a:rPr lang="it-IT" baseline="0" dirty="0" err="1" smtClean="0"/>
              <a:t>important</a:t>
            </a:r>
            <a:r>
              <a:rPr lang="it-IT" baseline="0" dirty="0" smtClean="0"/>
              <a:t> in a data-</a:t>
            </a:r>
            <a:r>
              <a:rPr lang="it-IT" baseline="0" dirty="0" err="1" smtClean="0"/>
              <a:t>rich</a:t>
            </a:r>
            <a:r>
              <a:rPr lang="it-IT" baseline="0" dirty="0" smtClean="0"/>
              <a:t> world (in the </a:t>
            </a:r>
            <a:r>
              <a:rPr lang="it-IT" baseline="0" dirty="0" err="1" smtClean="0"/>
              <a:t>flood</a:t>
            </a:r>
            <a:r>
              <a:rPr lang="it-IT" baseline="0" dirty="0" smtClean="0"/>
              <a:t>) </a:t>
            </a:r>
            <a:r>
              <a:rPr lang="it-IT" baseline="0" dirty="0" err="1" smtClean="0"/>
              <a:t>than</a:t>
            </a:r>
            <a:r>
              <a:rPr lang="it-IT" baseline="0" dirty="0" smtClean="0"/>
              <a:t> </a:t>
            </a:r>
            <a:r>
              <a:rPr lang="it-IT" baseline="0" dirty="0" err="1" smtClean="0"/>
              <a:t>it</a:t>
            </a:r>
            <a:r>
              <a:rPr lang="it-IT" baseline="0" dirty="0" smtClean="0"/>
              <a:t> </a:t>
            </a:r>
            <a:r>
              <a:rPr lang="it-IT" baseline="0" dirty="0" err="1" smtClean="0"/>
              <a:t>was</a:t>
            </a:r>
            <a:r>
              <a:rPr lang="it-IT" baseline="0" dirty="0" smtClean="0"/>
              <a:t> in the data-</a:t>
            </a:r>
            <a:r>
              <a:rPr lang="it-IT" baseline="0" dirty="0" err="1" smtClean="0"/>
              <a:t>scarce</a:t>
            </a:r>
            <a:r>
              <a:rPr lang="it-IT" baseline="0" dirty="0" smtClean="0"/>
              <a:t> world (in the </a:t>
            </a:r>
            <a:r>
              <a:rPr lang="it-IT" baseline="0" dirty="0" err="1" smtClean="0"/>
              <a:t>desert</a:t>
            </a:r>
            <a:r>
              <a:rPr lang="it-IT" baseline="0" dirty="0" smtClean="0"/>
              <a:t>)</a:t>
            </a:r>
            <a:r>
              <a:rPr lang="mr-IN" baseline="0" dirty="0" smtClean="0"/>
              <a:t>…</a:t>
            </a:r>
            <a:r>
              <a:rPr lang="it-IT" baseline="0" dirty="0" smtClean="0"/>
              <a:t> </a:t>
            </a:r>
            <a:r>
              <a:rPr lang="it-IT" baseline="0" dirty="0" err="1" smtClean="0"/>
              <a:t>but</a:t>
            </a:r>
            <a:r>
              <a:rPr lang="it-IT" baseline="0" dirty="0" smtClean="0"/>
              <a:t> the way to </a:t>
            </a:r>
            <a:r>
              <a:rPr lang="it-IT" baseline="0" dirty="0" err="1" smtClean="0"/>
              <a:t>provide</a:t>
            </a:r>
            <a:r>
              <a:rPr lang="it-IT" baseline="0" dirty="0" smtClean="0"/>
              <a:t> </a:t>
            </a:r>
            <a:r>
              <a:rPr lang="it-IT" baseline="0" dirty="0" err="1" smtClean="0"/>
              <a:t>it</a:t>
            </a:r>
            <a:r>
              <a:rPr lang="it-IT" baseline="0" dirty="0" smtClean="0"/>
              <a:t> </a:t>
            </a:r>
            <a:r>
              <a:rPr lang="it-IT" baseline="0" dirty="0" err="1" smtClean="0"/>
              <a:t>changes</a:t>
            </a:r>
            <a:r>
              <a:rPr lang="it-IT" baseline="0" dirty="0" smtClean="0"/>
              <a:t>: from </a:t>
            </a:r>
            <a:r>
              <a:rPr lang="it-IT" baseline="0" dirty="0" err="1" smtClean="0"/>
              <a:t>drilling</a:t>
            </a:r>
            <a:r>
              <a:rPr lang="it-IT" baseline="0" dirty="0" smtClean="0"/>
              <a:t> to </a:t>
            </a:r>
            <a:r>
              <a:rPr lang="it-IT" baseline="0" dirty="0" err="1" smtClean="0"/>
              <a:t>distilling</a:t>
            </a:r>
            <a:r>
              <a:rPr lang="it-IT" baseline="0" dirty="0" smtClean="0"/>
              <a:t> </a:t>
            </a:r>
            <a:r>
              <a:rPr lang="mr-IN" baseline="0" dirty="0" smtClean="0"/>
              <a:t>…</a:t>
            </a:r>
            <a:endParaRPr lang="en-IE" baseline="0" dirty="0" smtClean="0"/>
          </a:p>
          <a:p>
            <a:endParaRPr lang="en-I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en-IE" dirty="0" smtClean="0"/>
              <a:t>We see the emergence of a new paradigm for compiling official statistics where traditional survey will coexist with processing of non-traditional data sources</a:t>
            </a:r>
          </a:p>
          <a:p>
            <a:endParaRPr lang="en-GB" dirty="0"/>
          </a:p>
        </p:txBody>
      </p:sp>
      <p:sp>
        <p:nvSpPr>
          <p:cNvPr id="4" name="Segnaposto numero diapositiva 3"/>
          <p:cNvSpPr>
            <a:spLocks noGrp="1"/>
          </p:cNvSpPr>
          <p:nvPr>
            <p:ph type="sldNum" sz="quarter" idx="10"/>
          </p:nvPr>
        </p:nvSpPr>
        <p:spPr/>
        <p:txBody>
          <a:bodyPr/>
          <a:lstStyle/>
          <a:p>
            <a:fld id="{59CF2995-AB43-4B7C-B8CD-9DC7C3692A9C}" type="slidenum">
              <a:rPr lang="en-GB" smtClean="0"/>
              <a:t>3</a:t>
            </a:fld>
            <a:endParaRPr lang="en-GB"/>
          </a:p>
        </p:txBody>
      </p:sp>
    </p:spTree>
    <p:extLst>
      <p:ext uri="{BB962C8B-B14F-4D97-AF65-F5344CB8AC3E}">
        <p14:creationId xmlns:p14="http://schemas.microsoft.com/office/powerpoint/2010/main" val="2927136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smtClean="0"/>
              <a:t>With the positive conclusion on ESS Vision 2020 </a:t>
            </a:r>
            <a:r>
              <a:rPr lang="en-GB" dirty="0" smtClean="0"/>
              <a:t>programme, </a:t>
            </a:r>
            <a:r>
              <a:rPr lang="en-GB" dirty="0" smtClean="0"/>
              <a:t>there was a broad consensus on the need to keep a focus on ESS innovation as part of the MAP with a large scope (product and process innov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smtClean="0"/>
          </a:p>
        </p:txBody>
      </p:sp>
      <p:sp>
        <p:nvSpPr>
          <p:cNvPr id="4" name="Slide Number Placeholder 3"/>
          <p:cNvSpPr>
            <a:spLocks noGrp="1"/>
          </p:cNvSpPr>
          <p:nvPr>
            <p:ph type="sldNum" sz="quarter" idx="10"/>
          </p:nvPr>
        </p:nvSpPr>
        <p:spPr/>
        <p:txBody>
          <a:bodyPr/>
          <a:lstStyle/>
          <a:p>
            <a:fld id="{59CF2995-AB43-4B7C-B8CD-9DC7C3692A9C}" type="slidenum">
              <a:rPr lang="en-GB" smtClean="0"/>
              <a:t>4</a:t>
            </a:fld>
            <a:endParaRPr lang="en-GB"/>
          </a:p>
        </p:txBody>
      </p:sp>
    </p:spTree>
    <p:extLst>
      <p:ext uri="{BB962C8B-B14F-4D97-AF65-F5344CB8AC3E}">
        <p14:creationId xmlns:p14="http://schemas.microsoft.com/office/powerpoint/2010/main" val="305877061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sz="1100" dirty="0" smtClean="0"/>
              <a:t>The </a:t>
            </a:r>
            <a:r>
              <a:rPr lang="en-GB" sz="1100" b="1" dirty="0" smtClean="0"/>
              <a:t>European Data strategy</a:t>
            </a:r>
            <a:r>
              <a:rPr lang="en-GB" sz="1100" dirty="0" smtClean="0"/>
              <a:t> is being implemented through a number of </a:t>
            </a:r>
            <a:r>
              <a:rPr lang="en-GB" sz="1100" b="1" dirty="0" smtClean="0"/>
              <a:t>legislative initiatives</a:t>
            </a:r>
            <a:r>
              <a:rPr lang="en-GB" sz="1100" dirty="0" smtClean="0"/>
              <a:t>. I would like to refer to </a:t>
            </a:r>
            <a:r>
              <a:rPr lang="en-GB" sz="1100" b="1" dirty="0" smtClean="0"/>
              <a:t>three such initiatives</a:t>
            </a:r>
            <a:r>
              <a:rPr lang="en-GB" sz="1100" dirty="0" smtClean="0"/>
              <a:t> of major importance:</a:t>
            </a:r>
            <a:endParaRPr lang="en-GB" sz="1000" dirty="0" smtClean="0"/>
          </a:p>
          <a:p>
            <a:pPr lvl="0"/>
            <a:endParaRPr lang="en-GB" sz="1000" dirty="0" smtClean="0"/>
          </a:p>
          <a:p>
            <a:pPr lvl="0"/>
            <a:r>
              <a:rPr lang="en-GB" sz="1100" dirty="0" smtClean="0"/>
              <a:t>Firstly, the </a:t>
            </a:r>
            <a:r>
              <a:rPr lang="en-GB" sz="1100" b="1" dirty="0" smtClean="0"/>
              <a:t>Data Governance Act, </a:t>
            </a:r>
            <a:r>
              <a:rPr lang="en-GB" sz="1100" dirty="0" smtClean="0"/>
              <a:t>that</a:t>
            </a:r>
            <a:r>
              <a:rPr lang="en-GB" sz="1100" b="1" dirty="0" smtClean="0"/>
              <a:t> </a:t>
            </a:r>
            <a:r>
              <a:rPr lang="en-GB" sz="1100" dirty="0" smtClean="0"/>
              <a:t>aims at providing an overarching governance framework for the establishment and functioning of common </a:t>
            </a:r>
            <a:r>
              <a:rPr lang="en-GB" sz="1100" b="1" dirty="0" smtClean="0"/>
              <a:t>European Data Spaces</a:t>
            </a:r>
            <a:r>
              <a:rPr lang="en-GB" sz="1100" dirty="0" smtClean="0"/>
              <a:t>, e.g. a European health data space that will among others promote safe exchange of patients’ data and citizens’ control over their data, support research on treatments and medicines, or a European Green Deal data space. </a:t>
            </a:r>
            <a:endParaRPr lang="en-GB" sz="1000" dirty="0" smtClean="0"/>
          </a:p>
          <a:p>
            <a:pPr lvl="0"/>
            <a:endParaRPr lang="en-GB" sz="1000" dirty="0" smtClean="0"/>
          </a:p>
          <a:p>
            <a:pPr lvl="0"/>
            <a:r>
              <a:rPr lang="en-GB" sz="1100" dirty="0" smtClean="0"/>
              <a:t>Secondly, the implementing regulation on </a:t>
            </a:r>
            <a:r>
              <a:rPr lang="en-GB" sz="1100" b="1" dirty="0" smtClean="0"/>
              <a:t>High-Value Datasets</a:t>
            </a:r>
            <a:r>
              <a:rPr lang="en-GB" sz="1100" dirty="0" smtClean="0"/>
              <a:t> that </a:t>
            </a:r>
            <a:r>
              <a:rPr lang="en-GB" sz="1100" b="1" dirty="0" smtClean="0"/>
              <a:t>include</a:t>
            </a:r>
            <a:r>
              <a:rPr lang="en-GB" sz="1100" dirty="0" smtClean="0"/>
              <a:t> a list of datasets, </a:t>
            </a:r>
            <a:r>
              <a:rPr lang="en-GB" sz="1100" b="1" i="1" dirty="0" smtClean="0"/>
              <a:t>inter-alia</a:t>
            </a:r>
            <a:r>
              <a:rPr lang="en-GB" sz="1100" b="1" dirty="0" smtClean="0"/>
              <a:t> official statistics</a:t>
            </a:r>
            <a:r>
              <a:rPr lang="en-GB" sz="1100" dirty="0" smtClean="0"/>
              <a:t>, with a high commercial potential that can speed up the emergence of value-added EU-wide information products. </a:t>
            </a:r>
          </a:p>
          <a:p>
            <a:pPr lvl="0"/>
            <a:r>
              <a:rPr lang="en-GB" sz="1100" dirty="0" smtClean="0"/>
              <a:t>(</a:t>
            </a:r>
            <a:r>
              <a:rPr lang="en-US" sz="1000" dirty="0" smtClean="0"/>
              <a:t>Value Datasets (HVDs): • Geospatial • Earth observation and environment • Meteorological • Statistics • Companies and company ownership • Mobility</a:t>
            </a:r>
            <a:endParaRPr lang="en-GB" sz="1000" dirty="0" smtClean="0"/>
          </a:p>
          <a:p>
            <a:pPr lvl="0"/>
            <a:endParaRPr lang="en-GB" sz="1000" dirty="0" smtClean="0"/>
          </a:p>
          <a:p>
            <a:pPr lvl="0"/>
            <a:r>
              <a:rPr lang="en-GB" sz="1100" dirty="0" smtClean="0"/>
              <a:t>Thirdly, I would like to mention the forthcoming </a:t>
            </a:r>
            <a:r>
              <a:rPr lang="en-GB" sz="1100" b="1" dirty="0" smtClean="0"/>
              <a:t>Data Act</a:t>
            </a:r>
            <a:r>
              <a:rPr lang="en-GB" sz="1100" dirty="0" smtClean="0"/>
              <a:t> that aims at supporting </a:t>
            </a:r>
            <a:r>
              <a:rPr lang="en-GB" sz="1100" b="1" dirty="0" smtClean="0"/>
              <a:t>business-to-business data sharing</a:t>
            </a:r>
            <a:r>
              <a:rPr lang="en-GB" sz="1100" dirty="0" smtClean="0"/>
              <a:t> and </a:t>
            </a:r>
            <a:r>
              <a:rPr lang="en-GB" sz="1100" b="1" dirty="0" smtClean="0"/>
              <a:t>enabling access to data held by private sector entities, when these data are of public interest</a:t>
            </a:r>
          </a:p>
          <a:p>
            <a:pPr lvl="1"/>
            <a:endParaRPr lang="en-GB" sz="1100" b="1" dirty="0" smtClean="0"/>
          </a:p>
          <a:p>
            <a:endParaRPr lang="en-GB" sz="1050" dirty="0" smtClean="0"/>
          </a:p>
          <a:p>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6</a:t>
            </a:fld>
            <a:endParaRPr lang="en-GB"/>
          </a:p>
        </p:txBody>
      </p:sp>
    </p:spTree>
    <p:extLst>
      <p:ext uri="{BB962C8B-B14F-4D97-AF65-F5344CB8AC3E}">
        <p14:creationId xmlns:p14="http://schemas.microsoft.com/office/powerpoint/2010/main" val="107775437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31875" y="712788"/>
            <a:ext cx="4794250" cy="2697162"/>
          </a:xfrm>
        </p:spPr>
      </p:sp>
      <p:sp>
        <p:nvSpPr>
          <p:cNvPr id="3" name="Notes Placeholder 2"/>
          <p:cNvSpPr>
            <a:spLocks noGrp="1"/>
          </p:cNvSpPr>
          <p:nvPr>
            <p:ph type="body" idx="1"/>
          </p:nvPr>
        </p:nvSpPr>
        <p:spPr/>
        <p:txBody>
          <a:bodyPr/>
          <a:lstStyle/>
          <a:p>
            <a:r>
              <a:rPr lang="en-IE" dirty="0" smtClean="0"/>
              <a:t>Drivers for methodological innovations      </a:t>
            </a:r>
          </a:p>
          <a:p>
            <a:pPr lvl="1"/>
            <a:endParaRPr lang="en-IE" dirty="0" smtClean="0"/>
          </a:p>
          <a:p>
            <a:pPr lvl="1"/>
            <a:r>
              <a:rPr lang="en-IE" dirty="0" smtClean="0"/>
              <a:t>Declining participation to traditional data collection mode</a:t>
            </a:r>
          </a:p>
          <a:p>
            <a:pPr lvl="1"/>
            <a:r>
              <a:rPr lang="en-IE" dirty="0" smtClean="0"/>
              <a:t>New personas for data providers and data users (the youth …)</a:t>
            </a:r>
          </a:p>
          <a:p>
            <a:pPr lvl="1"/>
            <a:r>
              <a:rPr lang="en-IE" dirty="0" smtClean="0"/>
              <a:t>Faster and timelier delivery</a:t>
            </a:r>
          </a:p>
          <a:p>
            <a:pPr lvl="1"/>
            <a:r>
              <a:rPr lang="en-IE" dirty="0" smtClean="0"/>
              <a:t>Product innovation (adaptive, tailorable, inclusive)</a:t>
            </a:r>
          </a:p>
          <a:p>
            <a:pPr lvl="1"/>
            <a:r>
              <a:rPr lang="en-IE" dirty="0" smtClean="0"/>
              <a:t>Integration of </a:t>
            </a:r>
            <a:r>
              <a:rPr lang="en-IE" dirty="0" err="1" smtClean="0"/>
              <a:t>non traditional</a:t>
            </a:r>
            <a:r>
              <a:rPr lang="en-IE" dirty="0" smtClean="0"/>
              <a:t> data sources</a:t>
            </a:r>
          </a:p>
          <a:p>
            <a:pPr lvl="1"/>
            <a:r>
              <a:rPr lang="en-IE" dirty="0" smtClean="0"/>
              <a:t>Maintaining quality (in particular comparability)  in the new data ecosystem</a:t>
            </a:r>
          </a:p>
          <a:p>
            <a:pPr lvl="1"/>
            <a:r>
              <a:rPr lang="en-IE" dirty="0" smtClean="0"/>
              <a:t>Leaner, more automated and more robust processes / more </a:t>
            </a:r>
            <a:r>
              <a:rPr lang="en-IE" dirty="0" err="1" smtClean="0"/>
              <a:t>composable</a:t>
            </a:r>
            <a:r>
              <a:rPr lang="en-IE" dirty="0" smtClean="0"/>
              <a:t> / more resilient to shock (</a:t>
            </a:r>
            <a:r>
              <a:rPr lang="en-IE" dirty="0" err="1" smtClean="0"/>
              <a:t>pandemy</a:t>
            </a:r>
            <a:r>
              <a:rPr lang="en-IE" dirty="0" smtClean="0"/>
              <a:t>) </a:t>
            </a:r>
          </a:p>
          <a:p>
            <a:endParaRPr lang="en-US" dirty="0"/>
          </a:p>
        </p:txBody>
      </p:sp>
    </p:spTree>
    <p:extLst>
      <p:ext uri="{BB962C8B-B14F-4D97-AF65-F5344CB8AC3E}">
        <p14:creationId xmlns:p14="http://schemas.microsoft.com/office/powerpoint/2010/main" val="38033123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628650" lvl="1" indent="-171450">
              <a:buFont typeface="Arial" panose="020B0604020202020204" pitchFamily="34" charset="0"/>
              <a:buChar char="•"/>
            </a:pPr>
            <a:r>
              <a:rPr lang="en-IE" dirty="0" smtClean="0"/>
              <a:t>Keep </a:t>
            </a:r>
            <a:r>
              <a:rPr lang="en-IE" dirty="0" smtClean="0"/>
              <a:t>coordinating / sourcing methodological development along the MAP( &lt;- map analysis) </a:t>
            </a:r>
          </a:p>
          <a:p>
            <a:pPr marL="628650" lvl="1" indent="-171450">
              <a:buFont typeface="Arial" panose="020B0604020202020204" pitchFamily="34" charset="0"/>
              <a:buChar char="•"/>
            </a:pPr>
            <a:r>
              <a:rPr lang="en-IE" dirty="0" smtClean="0"/>
              <a:t>Create the enablers facilitate methodological  innovation </a:t>
            </a:r>
          </a:p>
          <a:p>
            <a:pPr marL="628650" lvl="1" indent="-171450">
              <a:buFont typeface="Arial" panose="020B0604020202020204" pitchFamily="34" charset="0"/>
              <a:buChar char="•"/>
            </a:pPr>
            <a:r>
              <a:rPr lang="en-IE" dirty="0" smtClean="0"/>
              <a:t>Legal framework participation - legal enablers for emergence a new production paradigm based on new collaboration with data holders, researchers, privacy WatchGuard and citizen (data donation, citizen science) </a:t>
            </a:r>
          </a:p>
          <a:p>
            <a:pPr marL="628650" lvl="1" indent="-171450">
              <a:buFont typeface="Arial" panose="020B0604020202020204" pitchFamily="34" charset="0"/>
              <a:buChar char="•"/>
            </a:pPr>
            <a:r>
              <a:rPr lang="en-IE" dirty="0" smtClean="0"/>
              <a:t>Support the setting up priorities for innovation (PG TF)</a:t>
            </a:r>
          </a:p>
          <a:p>
            <a:pPr marL="628650" lvl="1" indent="-171450">
              <a:buFont typeface="Arial" panose="020B0604020202020204" pitchFamily="34" charset="0"/>
              <a:buChar char="•"/>
            </a:pPr>
            <a:r>
              <a:rPr lang="en-IE" dirty="0" smtClean="0"/>
              <a:t>Rebuilt cooperation with external stakeholders (academia, researchers, private sectors) through new model of cooperation ( grant, hackathon)</a:t>
            </a:r>
          </a:p>
          <a:p>
            <a:pPr marL="628650" lvl="1" indent="-171450">
              <a:buFont typeface="Arial" panose="020B0604020202020204" pitchFamily="34" charset="0"/>
              <a:buChar char="•"/>
            </a:pPr>
            <a:r>
              <a:rPr lang="en-IE" dirty="0" smtClean="0"/>
              <a:t>Continuous training / uplift skills statisticians</a:t>
            </a:r>
          </a:p>
          <a:p>
            <a:pPr marL="628650" lvl="1" indent="-171450">
              <a:buFont typeface="Arial" panose="020B0604020202020204" pitchFamily="34" charset="0"/>
              <a:buChar char="•"/>
            </a:pPr>
            <a:r>
              <a:rPr lang="en-IE" dirty="0" smtClean="0"/>
              <a:t>Reenergising and finding new mode of cooperation among NSIs - more on co creation based on open source paradigm and continuous integration, data campus befitting for new mode of collaboration and proven methods of working</a:t>
            </a:r>
          </a:p>
          <a:p>
            <a:pPr marL="628650" lvl="1" indent="-171450">
              <a:buFont typeface="Arial" panose="020B0604020202020204" pitchFamily="34" charset="0"/>
              <a:buChar char="•"/>
            </a:pPr>
            <a:r>
              <a:rPr lang="en-IE" dirty="0" smtClean="0"/>
              <a:t>Providing  infrastructure/playground  at scale (through replication or as a shared </a:t>
            </a:r>
            <a:r>
              <a:rPr lang="en-IE" dirty="0" err="1" smtClean="0"/>
              <a:t>instrance</a:t>
            </a:r>
            <a:r>
              <a:rPr lang="en-IE" dirty="0" smtClean="0"/>
              <a:t>)</a:t>
            </a:r>
          </a:p>
          <a:p>
            <a:pPr marL="628650" lvl="1" indent="-171450">
              <a:buFont typeface="Arial" panose="020B0604020202020204" pitchFamily="34" charset="0"/>
              <a:buChar char="•"/>
            </a:pPr>
            <a:r>
              <a:rPr lang="en-IE" dirty="0" smtClean="0"/>
              <a:t>Enhanced security provision / policy for processing sensitive data</a:t>
            </a:r>
          </a:p>
          <a:p>
            <a:pPr marL="628650" lvl="1" indent="-171450">
              <a:buFont typeface="Arial" panose="020B0604020202020204" pitchFamily="34" charset="0"/>
              <a:buChar char="•"/>
            </a:pPr>
            <a:r>
              <a:rPr lang="en-IE" dirty="0" smtClean="0"/>
              <a:t>Define generic pattern for information architecture enabling new production mode based on data combination - adequate data governance for common data assets (web data, </a:t>
            </a:r>
          </a:p>
          <a:p>
            <a:pPr marL="628650" lvl="1" indent="-171450">
              <a:buFont typeface="Arial" panose="020B0604020202020204" pitchFamily="34" charset="0"/>
              <a:buChar char="•"/>
            </a:pPr>
            <a:r>
              <a:rPr lang="en-IE" dirty="0" smtClean="0"/>
              <a:t>Keep up with our TSS track towards reusable components enabling deployment/implementation in NSIS context  </a:t>
            </a:r>
          </a:p>
          <a:p>
            <a:pPr marL="628650" lvl="1" indent="-171450">
              <a:buFont typeface="Arial" panose="020B0604020202020204" pitchFamily="34" charset="0"/>
              <a:buChar char="•"/>
            </a:pPr>
            <a:r>
              <a:rPr lang="en-IE" dirty="0" smtClean="0"/>
              <a:t>continuing effort for setting innovative methods for data collection from data subjects (smart survey)</a:t>
            </a:r>
          </a:p>
          <a:p>
            <a:pPr marL="628650" lvl="1" indent="-171450">
              <a:buFont typeface="Arial" panose="020B0604020202020204" pitchFamily="34" charset="0"/>
              <a:buChar char="•"/>
            </a:pPr>
            <a:r>
              <a:rPr lang="en-IE" dirty="0" smtClean="0"/>
              <a:t>realising </a:t>
            </a:r>
            <a:r>
              <a:rPr lang="en-IE" dirty="0" err="1" smtClean="0"/>
              <a:t>PoC</a:t>
            </a:r>
            <a:r>
              <a:rPr lang="en-IE" dirty="0" smtClean="0"/>
              <a:t> of new technologies to support new mode of collection and processing  sensitive data processing (PET)</a:t>
            </a:r>
          </a:p>
          <a:p>
            <a:pPr marL="628650" lvl="1" indent="-171450">
              <a:buFont typeface="Arial" panose="020B0604020202020204" pitchFamily="34" charset="0"/>
              <a:buChar char="•"/>
            </a:pPr>
            <a:r>
              <a:rPr lang="en-IE" dirty="0" smtClean="0"/>
              <a:t>contributing to the collection of </a:t>
            </a:r>
            <a:r>
              <a:rPr lang="en-IE" dirty="0" err="1" smtClean="0"/>
              <a:t>meso</a:t>
            </a:r>
            <a:r>
              <a:rPr lang="en-IE" dirty="0" smtClean="0"/>
              <a:t> data where source are transnational and can benefit the whole ESS on the model of WIH</a:t>
            </a:r>
          </a:p>
          <a:p>
            <a:pPr marL="628650" lvl="1" indent="-171450">
              <a:buFont typeface="Arial" panose="020B0604020202020204" pitchFamily="34" charset="0"/>
              <a:buChar char="•"/>
            </a:pPr>
            <a:r>
              <a:rPr lang="en-IE" dirty="0" smtClean="0"/>
              <a:t>visualisation and integration capabilities based on GIS capabilities </a:t>
            </a:r>
          </a:p>
          <a:p>
            <a:pPr marL="628650" lvl="1" indent="-171450">
              <a:buFont typeface="Arial" panose="020B0604020202020204" pitchFamily="34" charset="0"/>
              <a:buChar char="•"/>
            </a:pPr>
            <a:r>
              <a:rPr lang="en-IE" dirty="0" smtClean="0"/>
              <a:t>semantic technologies to make our metadata more used and more active in process (fuelled by AI)</a:t>
            </a:r>
          </a:p>
          <a:p>
            <a:pPr marL="628650" lvl="1" indent="-171450">
              <a:buFont typeface="Arial" panose="020B0604020202020204" pitchFamily="34" charset="0"/>
              <a:buChar char="•"/>
            </a:pPr>
            <a:r>
              <a:rPr lang="en-IE" dirty="0" smtClean="0"/>
              <a:t>deployment of AI methods in production in MS (automated classification, federation of model training capabilities, repositories of ground truth data)</a:t>
            </a:r>
          </a:p>
          <a:p>
            <a:pPr marL="628650" lvl="1" indent="-171450">
              <a:buFont typeface="Arial" panose="020B0604020202020204" pitchFamily="34" charset="0"/>
              <a:buChar char="•"/>
            </a:pPr>
            <a:r>
              <a:rPr lang="en-IE" dirty="0" smtClean="0"/>
              <a:t>research on integration of </a:t>
            </a:r>
            <a:r>
              <a:rPr lang="en-IE" dirty="0" err="1" smtClean="0"/>
              <a:t>non traditional</a:t>
            </a:r>
            <a:r>
              <a:rPr lang="en-IE" dirty="0" smtClean="0"/>
              <a:t> data sources and related quality issues for statistics compiled from them</a:t>
            </a:r>
          </a:p>
          <a:p>
            <a:pPr marL="628650" lvl="1" indent="-171450">
              <a:buFont typeface="Arial" panose="020B0604020202020204" pitchFamily="34" charset="0"/>
              <a:buChar char="•"/>
            </a:pPr>
            <a:r>
              <a:rPr lang="en-IE" dirty="0" smtClean="0"/>
              <a:t>research on SDC (new paradigm for output privacy)</a:t>
            </a:r>
          </a:p>
          <a:p>
            <a:pPr marL="628650" lvl="1" indent="-171450">
              <a:buFont typeface="Arial" panose="020B0604020202020204" pitchFamily="34" charset="0"/>
              <a:buChar char="•"/>
            </a:pPr>
            <a:r>
              <a:rPr lang="en-IE" dirty="0" smtClean="0"/>
              <a:t>digitalisation and automation of Eurostat processes</a:t>
            </a:r>
          </a:p>
          <a:p>
            <a:pPr marL="171450" indent="-171450">
              <a:buFont typeface="Arial" panose="020B0604020202020204" pitchFamily="34" charset="0"/>
              <a:buChar char="•"/>
            </a:pPr>
            <a:endParaRPr lang="en-IE" dirty="0"/>
          </a:p>
        </p:txBody>
      </p:sp>
      <p:sp>
        <p:nvSpPr>
          <p:cNvPr id="4" name="Slide Number Placeholder 3"/>
          <p:cNvSpPr>
            <a:spLocks noGrp="1"/>
          </p:cNvSpPr>
          <p:nvPr>
            <p:ph type="sldNum" sz="quarter" idx="10"/>
          </p:nvPr>
        </p:nvSpPr>
        <p:spPr/>
        <p:txBody>
          <a:bodyPr/>
          <a:lstStyle/>
          <a:p>
            <a:fld id="{59CF2995-AB43-4B7C-B8CD-9DC7C3692A9C}" type="slidenum">
              <a:rPr lang="en-GB" smtClean="0"/>
              <a:t>14</a:t>
            </a:fld>
            <a:endParaRPr lang="en-GB"/>
          </a:p>
        </p:txBody>
      </p:sp>
    </p:spTree>
    <p:extLst>
      <p:ext uri="{BB962C8B-B14F-4D97-AF65-F5344CB8AC3E}">
        <p14:creationId xmlns:p14="http://schemas.microsoft.com/office/powerpoint/2010/main" val="206933972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10"/>
          </p:nvPr>
        </p:nvSpPr>
        <p:spPr/>
        <p:txBody>
          <a:bodyPr/>
          <a:lstStyle/>
          <a:p>
            <a:pPr>
              <a:defRPr/>
            </a:pPr>
            <a:fld id="{36441B25-C4D1-47DB-817D-B9C4FC5392FB}" type="slidenum">
              <a:rPr lang="en-GB" smtClean="0"/>
              <a:pPr>
                <a:defRPr/>
              </a:pPr>
              <a:t>15</a:t>
            </a:fld>
            <a:endParaRPr lang="en-GB"/>
          </a:p>
        </p:txBody>
      </p:sp>
      <p:sp>
        <p:nvSpPr>
          <p:cNvPr id="5" name="Notes Placeholder 4"/>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410029772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59CF2995-AB43-4B7C-B8CD-9DC7C3692A9C}" type="slidenum">
              <a:rPr lang="en-GB" smtClean="0"/>
              <a:t>16</a:t>
            </a:fld>
            <a:endParaRPr lang="en-GB"/>
          </a:p>
        </p:txBody>
      </p:sp>
    </p:spTree>
    <p:extLst>
      <p:ext uri="{BB962C8B-B14F-4D97-AF65-F5344CB8AC3E}">
        <p14:creationId xmlns:p14="http://schemas.microsoft.com/office/powerpoint/2010/main" val="200751996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3"/>
            <a:ext cx="12192000" cy="5779827"/>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smtClean="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4418049"/>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19" name="Text Placeholder 18"/>
          <p:cNvSpPr>
            <a:spLocks noGrp="1"/>
          </p:cNvSpPr>
          <p:nvPr>
            <p:ph type="body" sz="quarter" idx="13"/>
          </p:nvPr>
        </p:nvSpPr>
        <p:spPr>
          <a:xfrm>
            <a:off x="6096000" y="5557903"/>
            <a:ext cx="5040313" cy="528998"/>
          </a:xfrm>
        </p:spPr>
        <p:txBody>
          <a:bodyPr>
            <a:noAutofit/>
          </a:bodyPr>
          <a:lstStyle>
            <a:lvl1pPr marL="0" indent="0" algn="r">
              <a:buFontTx/>
              <a:buNone/>
              <a:defRPr sz="2200" i="1">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39921833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3pPr>
              <a:spcBef>
                <a:spcPts val="0"/>
              </a:spcBef>
              <a:defRPr/>
            </a:lvl3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402250" y="1825625"/>
            <a:ext cx="5328000" cy="3906435"/>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Slide Number Placeholder 6"/>
          <p:cNvSpPr>
            <a:spLocks noGrp="1"/>
          </p:cNvSpPr>
          <p:nvPr>
            <p:ph type="sldNum" sz="quarter" idx="12"/>
          </p:nvPr>
        </p:nvSpPr>
        <p:spPr/>
        <p:txBody>
          <a:bodyPr/>
          <a:lstStyle/>
          <a:p>
            <a:fld id="{F46C79FD-C571-418B-AB0F-5EE936C85276}" type="slidenum">
              <a:rPr lang="en-GB" smtClean="0"/>
              <a:t>‹#›</a:t>
            </a:fld>
            <a:endParaRPr lang="en-GB"/>
          </a:p>
        </p:txBody>
      </p:sp>
      <p:cxnSp>
        <p:nvCxnSpPr>
          <p:cNvPr id="10" name="Straight Connector 9"/>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124677452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hree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6"/>
            <a:ext cx="3358489" cy="3763134"/>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9" name="Content Placeholder 2"/>
          <p:cNvSpPr>
            <a:spLocks noGrp="1"/>
          </p:cNvSpPr>
          <p:nvPr>
            <p:ph sz="half" idx="13"/>
          </p:nvPr>
        </p:nvSpPr>
        <p:spPr>
          <a:xfrm>
            <a:off x="4604979" y="1825625"/>
            <a:ext cx="3358489" cy="3763134"/>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0" name="Content Placeholder 2"/>
          <p:cNvSpPr>
            <a:spLocks noGrp="1"/>
          </p:cNvSpPr>
          <p:nvPr>
            <p:ph sz="half" idx="14"/>
          </p:nvPr>
        </p:nvSpPr>
        <p:spPr>
          <a:xfrm>
            <a:off x="8371761" y="1825625"/>
            <a:ext cx="3358489" cy="3763134"/>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22071010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839788" y="1681163"/>
            <a:ext cx="5157787" cy="823912"/>
          </a:xfrm>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097331"/>
          </a:xfrm>
        </p:spPr>
        <p:txBody>
          <a:bodyPr wrap="square">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Text Placeholder 4"/>
          <p:cNvSpPr>
            <a:spLocks noGrp="1"/>
          </p:cNvSpPr>
          <p:nvPr>
            <p:ph type="body" sz="quarter" idx="3"/>
          </p:nvPr>
        </p:nvSpPr>
        <p:spPr>
          <a:xfrm>
            <a:off x="6172200" y="1681163"/>
            <a:ext cx="5183188" cy="823912"/>
          </a:xfrm>
          <a:noFill/>
        </p:spPr>
        <p:txBody>
          <a:bodyPr wrap="square" anchor="b">
            <a:noAutofit/>
          </a:bodyPr>
          <a:lstStyle>
            <a:lvl1pPr marL="0" indent="0">
              <a:buNone/>
              <a:defRPr sz="2800" b="1">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097331"/>
          </a:xfrm>
        </p:spPr>
        <p:txBody>
          <a:bodyPr wrap="square">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Slide Number Placeholder 8"/>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12" name="Straight Connector 11"/>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3"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2742694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148430153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5" name="Picture Placeholder 4"/>
          <p:cNvSpPr>
            <a:spLocks noGrp="1"/>
          </p:cNvSpPr>
          <p:nvPr>
            <p:ph type="pic" sz="quarter" idx="13"/>
          </p:nvPr>
        </p:nvSpPr>
        <p:spPr>
          <a:xfrm>
            <a:off x="-59635" y="-59635"/>
            <a:ext cx="6155635" cy="6983896"/>
          </a:xfrm>
          <a:solidFill>
            <a:schemeClr val="bg2"/>
          </a:solidFill>
          <a:ln w="28575">
            <a:solidFill>
              <a:schemeClr val="accent5"/>
            </a:solidFill>
          </a:ln>
        </p:spPr>
        <p:txBody>
          <a:bodyPr/>
          <a:lstStyle/>
          <a:p>
            <a:r>
              <a:rPr lang="en-US" smtClean="0"/>
              <a:t>Click icon to add picture</a:t>
            </a:r>
            <a:endParaRPr lang="en-GB" dirty="0"/>
          </a:p>
        </p:txBody>
      </p:sp>
      <p:sp>
        <p:nvSpPr>
          <p:cNvPr id="10" name="Rectangle 9"/>
          <p:cNvSpPr/>
          <p:nvPr userDrawn="1"/>
        </p:nvSpPr>
        <p:spPr>
          <a:xfrm>
            <a:off x="3214048" y="1992573"/>
            <a:ext cx="8550322" cy="36166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219447" y="743802"/>
            <a:ext cx="544923" cy="544923"/>
          </a:xfrm>
          <a:prstGeom prst="rect">
            <a:avLst/>
          </a:prstGeom>
        </p:spPr>
      </p:pic>
      <p:sp>
        <p:nvSpPr>
          <p:cNvPr id="3" name="Content Placeholder 2"/>
          <p:cNvSpPr>
            <a:spLocks noGrp="1"/>
          </p:cNvSpPr>
          <p:nvPr>
            <p:ph idx="1"/>
          </p:nvPr>
        </p:nvSpPr>
        <p:spPr>
          <a:xfrm>
            <a:off x="3538331" y="1992572"/>
            <a:ext cx="8226040" cy="3616657"/>
          </a:xfrm>
          <a:solidFill>
            <a:schemeClr val="bg1"/>
          </a:solidFill>
        </p:spPr>
        <p:txBody>
          <a:bodyPr lIns="360000" tIns="360000" rIns="360000" bIns="360000" anchor="ctr" anchorCtr="0">
            <a:noAutofit/>
          </a:bodyPr>
          <a:lstStyle>
            <a:lvl1pPr marL="0" indent="0">
              <a:buFontTx/>
              <a:buNone/>
              <a:defRPr i="1">
                <a:solidFill>
                  <a:schemeClr val="tx2"/>
                </a:solidFill>
              </a:defRPr>
            </a:lvl1pPr>
          </a:lstStyle>
          <a:p>
            <a:pPr lvl="0"/>
            <a:r>
              <a:rPr lang="en-US" smtClean="0"/>
              <a:t>Edit Master text styles</a:t>
            </a:r>
          </a:p>
        </p:txBody>
      </p:sp>
    </p:spTree>
    <p:extLst>
      <p:ext uri="{BB962C8B-B14F-4D97-AF65-F5344CB8AC3E}">
        <p14:creationId xmlns:p14="http://schemas.microsoft.com/office/powerpoint/2010/main" val="1784062935"/>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and Content (half page)">
    <p:spTree>
      <p:nvGrpSpPr>
        <p:cNvPr id="1" name=""/>
        <p:cNvGrpSpPr/>
        <p:nvPr/>
      </p:nvGrpSpPr>
      <p:grpSpPr>
        <a:xfrm>
          <a:off x="0" y="0"/>
          <a:ext cx="0" cy="0"/>
          <a:chOff x="0" y="0"/>
          <a:chExt cx="0" cy="0"/>
        </a:xfrm>
      </p:grpSpPr>
      <p:sp>
        <p:nvSpPr>
          <p:cNvPr id="3" name="Content Placeholder 2"/>
          <p:cNvSpPr>
            <a:spLocks noGrp="1"/>
          </p:cNvSpPr>
          <p:nvPr>
            <p:ph idx="1"/>
          </p:nvPr>
        </p:nvSpPr>
        <p:spPr>
          <a:xfrm>
            <a:off x="6817056" y="1825625"/>
            <a:ext cx="4926841" cy="3769957"/>
          </a:xfrm>
        </p:spPr>
        <p:txBody>
          <a:bodyPr>
            <a:no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p:txBody>
          <a:bodyPr/>
          <a:lstStyle/>
          <a:p>
            <a:fld id="{F46C79FD-C571-418B-AB0F-5EE936C85276}" type="slidenum">
              <a:rPr lang="en-GB" smtClean="0"/>
              <a:t>‹#›</a:t>
            </a:fld>
            <a:endParaRPr lang="en-GB"/>
          </a:p>
        </p:txBody>
      </p:sp>
      <p:sp>
        <p:nvSpPr>
          <p:cNvPr id="10" name="Title Placeholder 1"/>
          <p:cNvSpPr>
            <a:spLocks noGrp="1"/>
          </p:cNvSpPr>
          <p:nvPr>
            <p:ph type="title"/>
          </p:nvPr>
        </p:nvSpPr>
        <p:spPr>
          <a:xfrm>
            <a:off x="6817056" y="482860"/>
            <a:ext cx="4669266"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7" name="Picture Placeholder 4"/>
          <p:cNvSpPr>
            <a:spLocks noGrp="1"/>
          </p:cNvSpPr>
          <p:nvPr>
            <p:ph type="pic" sz="quarter" idx="13"/>
          </p:nvPr>
        </p:nvSpPr>
        <p:spPr>
          <a:xfrm>
            <a:off x="-46383" y="-46383"/>
            <a:ext cx="6142383" cy="6964017"/>
          </a:xfrm>
          <a:solidFill>
            <a:schemeClr val="bg2"/>
          </a:solidFill>
          <a:ln w="28575">
            <a:solidFill>
              <a:schemeClr val="accent5"/>
            </a:solidFill>
          </a:ln>
        </p:spPr>
        <p:txBody>
          <a:bodyPr/>
          <a:lstStyle/>
          <a:p>
            <a:r>
              <a:rPr lang="en-US" smtClean="0"/>
              <a:t>Click icon to add picture</a:t>
            </a:r>
            <a:endParaRPr lang="en-GB" dirty="0"/>
          </a:p>
        </p:txBody>
      </p:sp>
    </p:spTree>
    <p:extLst>
      <p:ext uri="{BB962C8B-B14F-4D97-AF65-F5344CB8AC3E}">
        <p14:creationId xmlns:p14="http://schemas.microsoft.com/office/powerpoint/2010/main" val="3692034474"/>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3" name="Picture Placeholder 2"/>
          <p:cNvSpPr>
            <a:spLocks noGrp="1"/>
          </p:cNvSpPr>
          <p:nvPr>
            <p:ph type="pic" sz="quarter" idx="13"/>
          </p:nvPr>
        </p:nvSpPr>
        <p:spPr>
          <a:xfrm>
            <a:off x="970722" y="2284667"/>
            <a:ext cx="3141663" cy="2090737"/>
          </a:xfrm>
          <a:solidFill>
            <a:schemeClr val="bg2"/>
          </a:solidFill>
        </p:spPr>
        <p:txBody>
          <a:bodyPr/>
          <a:lstStyle/>
          <a:p>
            <a:r>
              <a:rPr lang="en-US" smtClean="0"/>
              <a:t>Click icon to add picture</a:t>
            </a:r>
            <a:endParaRPr lang="en-GB"/>
          </a:p>
        </p:txBody>
      </p:sp>
      <p:sp>
        <p:nvSpPr>
          <p:cNvPr id="11" name="Picture Placeholder 2"/>
          <p:cNvSpPr>
            <a:spLocks noGrp="1"/>
          </p:cNvSpPr>
          <p:nvPr>
            <p:ph type="pic" sz="quarter" idx="14"/>
          </p:nvPr>
        </p:nvSpPr>
        <p:spPr>
          <a:xfrm>
            <a:off x="7901451" y="2284668"/>
            <a:ext cx="3141663" cy="2090737"/>
          </a:xfrm>
          <a:solidFill>
            <a:schemeClr val="bg2"/>
          </a:solidFill>
        </p:spPr>
        <p:txBody>
          <a:bodyPr/>
          <a:lstStyle/>
          <a:p>
            <a:r>
              <a:rPr lang="en-US" smtClean="0"/>
              <a:t>Click icon to add picture</a:t>
            </a:r>
            <a:endParaRPr lang="en-GB"/>
          </a:p>
        </p:txBody>
      </p:sp>
      <p:sp>
        <p:nvSpPr>
          <p:cNvPr id="12" name="Picture Placeholder 2"/>
          <p:cNvSpPr>
            <a:spLocks noGrp="1"/>
          </p:cNvSpPr>
          <p:nvPr>
            <p:ph type="pic" sz="quarter" idx="15"/>
          </p:nvPr>
        </p:nvSpPr>
        <p:spPr>
          <a:xfrm>
            <a:off x="4436086" y="2284667"/>
            <a:ext cx="3141663" cy="2090737"/>
          </a:xfrm>
          <a:solidFill>
            <a:schemeClr val="bg2"/>
          </a:solidFill>
        </p:spPr>
        <p:txBody>
          <a:bodyPr/>
          <a:lstStyle/>
          <a:p>
            <a:r>
              <a:rPr lang="en-US" smtClean="0"/>
              <a:t>Click icon to add picture</a:t>
            </a:r>
            <a:endParaRPr lang="en-GB"/>
          </a:p>
        </p:txBody>
      </p:sp>
      <p:sp>
        <p:nvSpPr>
          <p:cNvPr id="13" name="Text Placeholder 12"/>
          <p:cNvSpPr>
            <a:spLocks noGrp="1"/>
          </p:cNvSpPr>
          <p:nvPr>
            <p:ph type="body" sz="quarter" idx="16"/>
          </p:nvPr>
        </p:nvSpPr>
        <p:spPr>
          <a:xfrm>
            <a:off x="1206774" y="4038684"/>
            <a:ext cx="2669558" cy="1524235"/>
          </a:xfrm>
          <a:solidFill>
            <a:schemeClr val="bg1"/>
          </a:solidFill>
        </p:spPr>
        <p:txBody>
          <a:bodyPr tIns="90000"/>
          <a:lstStyle>
            <a:lvl1pPr marL="0" indent="0" algn="ctr">
              <a:buNone/>
              <a:defRPr sz="2000"/>
            </a:lvl1pPr>
          </a:lstStyle>
          <a:p>
            <a:pPr lvl="0"/>
            <a:r>
              <a:rPr lang="en-US" smtClean="0"/>
              <a:t>Edit Master text styles</a:t>
            </a:r>
          </a:p>
        </p:txBody>
      </p:sp>
      <p:sp>
        <p:nvSpPr>
          <p:cNvPr id="15" name="Text Placeholder 12"/>
          <p:cNvSpPr>
            <a:spLocks noGrp="1"/>
          </p:cNvSpPr>
          <p:nvPr>
            <p:ph type="body" sz="quarter" idx="17"/>
          </p:nvPr>
        </p:nvSpPr>
        <p:spPr>
          <a:xfrm>
            <a:off x="4672139" y="4041944"/>
            <a:ext cx="2669558" cy="1524235"/>
          </a:xfrm>
          <a:solidFill>
            <a:schemeClr val="bg1"/>
          </a:solidFill>
        </p:spPr>
        <p:txBody>
          <a:bodyPr tIns="90000"/>
          <a:lstStyle>
            <a:lvl1pPr marL="0" indent="0" algn="ctr">
              <a:buNone/>
              <a:defRPr sz="2000"/>
            </a:lvl1pPr>
          </a:lstStyle>
          <a:p>
            <a:pPr lvl="0"/>
            <a:r>
              <a:rPr lang="en-US" smtClean="0"/>
              <a:t>Edit Master text styles</a:t>
            </a:r>
          </a:p>
        </p:txBody>
      </p:sp>
      <p:sp>
        <p:nvSpPr>
          <p:cNvPr id="16" name="Text Placeholder 12"/>
          <p:cNvSpPr>
            <a:spLocks noGrp="1"/>
          </p:cNvSpPr>
          <p:nvPr>
            <p:ph type="body" sz="quarter" idx="18"/>
          </p:nvPr>
        </p:nvSpPr>
        <p:spPr>
          <a:xfrm>
            <a:off x="8137503" y="4037437"/>
            <a:ext cx="2669558" cy="1524235"/>
          </a:xfrm>
          <a:solidFill>
            <a:schemeClr val="bg1"/>
          </a:solidFill>
        </p:spPr>
        <p:txBody>
          <a:bodyPr tIns="90000"/>
          <a:lstStyle>
            <a:lvl1pPr marL="0" indent="0" algn="ctr">
              <a:buNone/>
              <a:defRPr sz="2000"/>
            </a:lvl1pPr>
          </a:lstStyle>
          <a:p>
            <a:pPr lvl="0"/>
            <a:r>
              <a:rPr lang="en-US" smtClean="0"/>
              <a:t>Edit Master text styles</a:t>
            </a:r>
          </a:p>
        </p:txBody>
      </p:sp>
    </p:spTree>
    <p:extLst>
      <p:ext uri="{BB962C8B-B14F-4D97-AF65-F5344CB8AC3E}">
        <p14:creationId xmlns:p14="http://schemas.microsoft.com/office/powerpoint/2010/main" val="17801072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4 images">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fld id="{F46C79FD-C571-418B-AB0F-5EE936C85276}" type="slidenum">
              <a:rPr lang="en-GB" smtClean="0"/>
              <a:t>‹#›</a:t>
            </a:fld>
            <a:endParaRPr lang="en-GB"/>
          </a:p>
        </p:txBody>
      </p:sp>
      <p:cxnSp>
        <p:nvCxnSpPr>
          <p:cNvPr id="8" name="Straight Connector 7"/>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3" name="Picture Placeholder 2"/>
          <p:cNvSpPr>
            <a:spLocks noGrp="1"/>
          </p:cNvSpPr>
          <p:nvPr>
            <p:ph type="pic" sz="quarter" idx="13"/>
          </p:nvPr>
        </p:nvSpPr>
        <p:spPr>
          <a:xfrm>
            <a:off x="3713869" y="2159957"/>
            <a:ext cx="2461591" cy="1638158"/>
          </a:xfrm>
          <a:solidFill>
            <a:schemeClr val="bg2"/>
          </a:solidFill>
        </p:spPr>
        <p:txBody>
          <a:bodyPr/>
          <a:lstStyle/>
          <a:p>
            <a:r>
              <a:rPr lang="en-US" smtClean="0"/>
              <a:t>Click icon to add picture</a:t>
            </a:r>
            <a:endParaRPr lang="en-GB"/>
          </a:p>
        </p:txBody>
      </p:sp>
      <p:sp>
        <p:nvSpPr>
          <p:cNvPr id="11" name="Picture Placeholder 2"/>
          <p:cNvSpPr>
            <a:spLocks noGrp="1"/>
          </p:cNvSpPr>
          <p:nvPr>
            <p:ph type="pic" sz="quarter" idx="14"/>
          </p:nvPr>
        </p:nvSpPr>
        <p:spPr>
          <a:xfrm>
            <a:off x="3713868" y="3968881"/>
            <a:ext cx="2461591" cy="1638158"/>
          </a:xfrm>
          <a:solidFill>
            <a:schemeClr val="bg2"/>
          </a:solidFill>
        </p:spPr>
        <p:txBody>
          <a:bodyPr/>
          <a:lstStyle/>
          <a:p>
            <a:r>
              <a:rPr lang="en-US" smtClean="0"/>
              <a:t>Click icon to add picture</a:t>
            </a:r>
            <a:endParaRPr lang="en-GB"/>
          </a:p>
        </p:txBody>
      </p:sp>
      <p:sp>
        <p:nvSpPr>
          <p:cNvPr id="12" name="Picture Placeholder 2"/>
          <p:cNvSpPr>
            <a:spLocks noGrp="1"/>
          </p:cNvSpPr>
          <p:nvPr>
            <p:ph type="pic" sz="quarter" idx="15"/>
          </p:nvPr>
        </p:nvSpPr>
        <p:spPr>
          <a:xfrm>
            <a:off x="6324547" y="2159956"/>
            <a:ext cx="2461593" cy="1638159"/>
          </a:xfrm>
          <a:solidFill>
            <a:schemeClr val="bg2"/>
          </a:solidFill>
        </p:spPr>
        <p:txBody>
          <a:bodyPr/>
          <a:lstStyle/>
          <a:p>
            <a:r>
              <a:rPr lang="en-US" smtClean="0"/>
              <a:t>Click icon to add picture</a:t>
            </a:r>
            <a:endParaRPr lang="en-GB"/>
          </a:p>
        </p:txBody>
      </p:sp>
      <p:sp>
        <p:nvSpPr>
          <p:cNvPr id="13" name="Text Placeholder 12"/>
          <p:cNvSpPr>
            <a:spLocks noGrp="1"/>
          </p:cNvSpPr>
          <p:nvPr>
            <p:ph type="body" sz="quarter" idx="16"/>
          </p:nvPr>
        </p:nvSpPr>
        <p:spPr>
          <a:xfrm>
            <a:off x="8935227" y="3968880"/>
            <a:ext cx="2520000" cy="1638158"/>
          </a:xfrm>
          <a:noFill/>
        </p:spPr>
        <p:txBody>
          <a:bodyPr tIns="90000"/>
          <a:lstStyle>
            <a:lvl1pPr marL="0" indent="0" algn="l">
              <a:buNone/>
              <a:defRPr sz="2000"/>
            </a:lvl1pPr>
          </a:lstStyle>
          <a:p>
            <a:pPr lvl="0"/>
            <a:r>
              <a:rPr lang="en-US" smtClean="0"/>
              <a:t>Edit Master text styles</a:t>
            </a:r>
          </a:p>
        </p:txBody>
      </p:sp>
      <p:sp>
        <p:nvSpPr>
          <p:cNvPr id="16" name="Text Placeholder 12"/>
          <p:cNvSpPr>
            <a:spLocks noGrp="1"/>
          </p:cNvSpPr>
          <p:nvPr>
            <p:ph type="body" sz="quarter" idx="18"/>
          </p:nvPr>
        </p:nvSpPr>
        <p:spPr>
          <a:xfrm>
            <a:off x="1033617" y="2159957"/>
            <a:ext cx="2520000" cy="1638159"/>
          </a:xfrm>
          <a:noFill/>
        </p:spPr>
        <p:txBody>
          <a:bodyPr tIns="90000"/>
          <a:lstStyle>
            <a:lvl1pPr marL="0" indent="0" algn="r">
              <a:buNone/>
              <a:defRPr sz="2000"/>
            </a:lvl1pPr>
          </a:lstStyle>
          <a:p>
            <a:pPr lvl="0"/>
            <a:r>
              <a:rPr lang="en-US" smtClean="0"/>
              <a:t>Edit Master text styles</a:t>
            </a:r>
          </a:p>
        </p:txBody>
      </p:sp>
      <p:sp>
        <p:nvSpPr>
          <p:cNvPr id="14" name="Picture Placeholder 2"/>
          <p:cNvSpPr>
            <a:spLocks noGrp="1"/>
          </p:cNvSpPr>
          <p:nvPr>
            <p:ph type="pic" sz="quarter" idx="19"/>
          </p:nvPr>
        </p:nvSpPr>
        <p:spPr>
          <a:xfrm>
            <a:off x="6324549" y="3968880"/>
            <a:ext cx="2461591" cy="1638158"/>
          </a:xfrm>
          <a:solidFill>
            <a:schemeClr val="bg2"/>
          </a:solidFill>
        </p:spPr>
        <p:txBody>
          <a:bodyPr/>
          <a:lstStyle/>
          <a:p>
            <a:r>
              <a:rPr lang="en-US" smtClean="0"/>
              <a:t>Click icon to add picture</a:t>
            </a:r>
            <a:endParaRPr lang="en-GB"/>
          </a:p>
        </p:txBody>
      </p:sp>
      <p:sp>
        <p:nvSpPr>
          <p:cNvPr id="17" name="Text Placeholder 12"/>
          <p:cNvSpPr>
            <a:spLocks noGrp="1"/>
          </p:cNvSpPr>
          <p:nvPr>
            <p:ph type="body" sz="quarter" idx="20"/>
          </p:nvPr>
        </p:nvSpPr>
        <p:spPr>
          <a:xfrm>
            <a:off x="1033617" y="3968881"/>
            <a:ext cx="2520000" cy="1638158"/>
          </a:xfrm>
          <a:noFill/>
        </p:spPr>
        <p:txBody>
          <a:bodyPr tIns="90000"/>
          <a:lstStyle>
            <a:lvl1pPr marL="0" indent="0" algn="r">
              <a:buNone/>
              <a:defRPr sz="2000"/>
            </a:lvl1pPr>
          </a:lstStyle>
          <a:p>
            <a:pPr lvl="0"/>
            <a:r>
              <a:rPr lang="en-US" smtClean="0"/>
              <a:t>Edit Master text styles</a:t>
            </a:r>
          </a:p>
        </p:txBody>
      </p:sp>
      <p:sp>
        <p:nvSpPr>
          <p:cNvPr id="18" name="Text Placeholder 12"/>
          <p:cNvSpPr>
            <a:spLocks noGrp="1"/>
          </p:cNvSpPr>
          <p:nvPr>
            <p:ph type="body" sz="quarter" idx="21"/>
          </p:nvPr>
        </p:nvSpPr>
        <p:spPr>
          <a:xfrm>
            <a:off x="8966322" y="2159956"/>
            <a:ext cx="2520000" cy="1638159"/>
          </a:xfrm>
          <a:noFill/>
        </p:spPr>
        <p:txBody>
          <a:bodyPr tIns="90000"/>
          <a:lstStyle>
            <a:lvl1pPr marL="0" indent="0" algn="l">
              <a:buNone/>
              <a:defRPr sz="2000"/>
            </a:lvl1pPr>
          </a:lstStyle>
          <a:p>
            <a:pPr lvl="0"/>
            <a:r>
              <a:rPr lang="en-US" smtClean="0"/>
              <a:t>Edit Master text styles</a:t>
            </a:r>
          </a:p>
        </p:txBody>
      </p:sp>
    </p:spTree>
    <p:extLst>
      <p:ext uri="{BB962C8B-B14F-4D97-AF65-F5344CB8AC3E}">
        <p14:creationId xmlns:p14="http://schemas.microsoft.com/office/powerpoint/2010/main" val="36385566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Picture Placeholder 2"/>
          <p:cNvSpPr>
            <a:spLocks noGrp="1"/>
          </p:cNvSpPr>
          <p:nvPr>
            <p:ph type="pic" sz="quarter" idx="13"/>
          </p:nvPr>
        </p:nvSpPr>
        <p:spPr>
          <a:xfrm>
            <a:off x="0" y="0"/>
            <a:ext cx="12192000" cy="3429000"/>
          </a:xfrm>
          <a:solidFill>
            <a:schemeClr val="bg2"/>
          </a:solidFill>
        </p:spPr>
        <p:txBody>
          <a:bodyPr/>
          <a:lstStyle/>
          <a:p>
            <a:r>
              <a:rPr lang="en-US" smtClean="0"/>
              <a:t>Click icon to add picture</a:t>
            </a:r>
            <a:endParaRPr lang="en-GB"/>
          </a:p>
        </p:txBody>
      </p:sp>
      <p:sp>
        <p:nvSpPr>
          <p:cNvPr id="2" name="Title 1"/>
          <p:cNvSpPr>
            <a:spLocks noGrp="1"/>
          </p:cNvSpPr>
          <p:nvPr>
            <p:ph type="title"/>
          </p:nvPr>
        </p:nvSpPr>
        <p:spPr>
          <a:xfrm>
            <a:off x="838200" y="2646643"/>
            <a:ext cx="10515600" cy="782357"/>
          </a:xfrm>
          <a:solidFill>
            <a:schemeClr val="bg1"/>
          </a:solidFill>
        </p:spPr>
        <p:txBody>
          <a:bodyPr/>
          <a:lstStyle/>
          <a:p>
            <a:r>
              <a:rPr lang="en-US" smtClean="0"/>
              <a:t>Click to edit Master title style</a:t>
            </a:r>
            <a:endParaRPr lang="en-GB"/>
          </a:p>
        </p:txBody>
      </p:sp>
      <p:sp>
        <p:nvSpPr>
          <p:cNvPr id="3" name="Slide Number Placeholder 2"/>
          <p:cNvSpPr>
            <a:spLocks noGrp="1"/>
          </p:cNvSpPr>
          <p:nvPr>
            <p:ph type="sldNum" sz="quarter" idx="10"/>
          </p:nvPr>
        </p:nvSpPr>
        <p:spPr/>
        <p:txBody>
          <a:bodyPr/>
          <a:lstStyle/>
          <a:p>
            <a:fld id="{F46C79FD-C571-418B-AB0F-5EE936C85276}" type="slidenum">
              <a:rPr lang="en-GB" smtClean="0"/>
              <a:pPr/>
              <a:t>‹#›</a:t>
            </a:fld>
            <a:endParaRPr lang="en-GB" dirty="0"/>
          </a:p>
        </p:txBody>
      </p:sp>
      <p:sp>
        <p:nvSpPr>
          <p:cNvPr id="6" name="Text Placeholder 5"/>
          <p:cNvSpPr>
            <a:spLocks noGrp="1"/>
          </p:cNvSpPr>
          <p:nvPr>
            <p:ph type="body" sz="quarter" idx="14"/>
          </p:nvPr>
        </p:nvSpPr>
        <p:spPr>
          <a:xfrm>
            <a:off x="838200" y="3630613"/>
            <a:ext cx="10515600" cy="2035175"/>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4136774602"/>
      </p:ext>
    </p:extLst>
  </p:cSld>
  <p:clrMapOvr>
    <a:masterClrMapping/>
  </p:clrMapOvr>
  <p:extLst mod="1">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F46C79FD-C571-418B-AB0F-5EE936C85276}" type="slidenum">
              <a:rPr lang="en-GB" smtClean="0"/>
              <a:t>‹#›</a:t>
            </a:fld>
            <a:endParaRPr lang="en-GB"/>
          </a:p>
        </p:txBody>
      </p:sp>
    </p:spTree>
    <p:extLst>
      <p:ext uri="{BB962C8B-B14F-4D97-AF65-F5344CB8AC3E}">
        <p14:creationId xmlns:p14="http://schemas.microsoft.com/office/powerpoint/2010/main" val="2414118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1850288"/>
            <a:ext cx="12192000" cy="5018345"/>
          </a:xfrm>
          <a:prstGeom prst="rect">
            <a:avLst/>
          </a:prstGeom>
        </p:spPr>
      </p:pic>
      <p:sp>
        <p:nvSpPr>
          <p:cNvPr id="4" name="Slide Number Placeholder 3"/>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5" name="Rectangle 4"/>
          <p:cNvSpPr/>
          <p:nvPr userDrawn="1"/>
        </p:nvSpPr>
        <p:spPr>
          <a:xfrm>
            <a:off x="0" y="1078174"/>
            <a:ext cx="12192000" cy="28908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6" name="Title 1"/>
          <p:cNvSpPr>
            <a:spLocks noGrp="1"/>
          </p:cNvSpPr>
          <p:nvPr>
            <p:ph type="ctrTitle"/>
          </p:nvPr>
        </p:nvSpPr>
        <p:spPr>
          <a:xfrm>
            <a:off x="1071350" y="1992572"/>
            <a:ext cx="10065224" cy="872647"/>
          </a:xfrm>
        </p:spPr>
        <p:txBody>
          <a:bodyPr anchor="t">
            <a:normAutofit/>
          </a:bodyPr>
          <a:lstStyle>
            <a:lvl1pPr algn="l">
              <a:defRPr sz="6000" b="0">
                <a:solidFill>
                  <a:schemeClr val="bg1"/>
                </a:solidFill>
              </a:defRPr>
            </a:lvl1pPr>
          </a:lstStyle>
          <a:p>
            <a:r>
              <a:rPr lang="en-US" smtClean="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7" name="Subtitle 2"/>
          <p:cNvSpPr>
            <a:spLocks noGrp="1"/>
          </p:cNvSpPr>
          <p:nvPr>
            <p:ph type="subTitle" idx="1"/>
          </p:nvPr>
        </p:nvSpPr>
        <p:spPr>
          <a:xfrm>
            <a:off x="1071351" y="3067468"/>
            <a:ext cx="10065224" cy="897754"/>
          </a:xfrm>
        </p:spPr>
        <p:txBody>
          <a:bodyPr>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19" name="Text Placeholder 18"/>
          <p:cNvSpPr>
            <a:spLocks noGrp="1"/>
          </p:cNvSpPr>
          <p:nvPr>
            <p:ph type="body" sz="quarter" idx="13"/>
          </p:nvPr>
        </p:nvSpPr>
        <p:spPr>
          <a:xfrm>
            <a:off x="6096000" y="5783535"/>
            <a:ext cx="5040313" cy="528998"/>
          </a:xfrm>
        </p:spPr>
        <p:txBody>
          <a:bodyPr anchor="b" anchorCtr="0">
            <a:noAutofit/>
          </a:bodyPr>
          <a:lstStyle>
            <a:lvl1pPr marL="0" indent="0" algn="r">
              <a:buFontTx/>
              <a:buNone/>
              <a:defRPr sz="2200" i="1">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1069985829"/>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9471311-3F17-42AD-B066-8DB7E1A15685}"/>
              </a:ext>
            </a:extLst>
          </p:cNvPr>
          <p:cNvSpPr/>
          <p:nvPr userDrawn="1"/>
        </p:nvSpPr>
        <p:spPr>
          <a:xfrm>
            <a:off x="0" y="0"/>
            <a:ext cx="12192000" cy="836613"/>
          </a:xfrm>
          <a:prstGeom prst="rect">
            <a:avLst/>
          </a:prstGeom>
          <a:solidFill>
            <a:srgbClr val="0F5494"/>
          </a:solidFill>
          <a:ln>
            <a:solidFill>
              <a:srgbClr val="0F5494"/>
            </a:solidFill>
          </a:ln>
          <a:effectLst/>
        </p:spPr>
        <p:style>
          <a:lnRef idx="1">
            <a:schemeClr val="accent1"/>
          </a:lnRef>
          <a:fillRef idx="3">
            <a:schemeClr val="accent1"/>
          </a:fillRef>
          <a:effectRef idx="2">
            <a:schemeClr val="accent1"/>
          </a:effectRef>
          <a:fontRef idx="minor">
            <a:schemeClr val="lt1"/>
          </a:fontRef>
        </p:style>
        <p:txBody>
          <a:bodyPr anchor="ctr"/>
          <a:lstStyle/>
          <a:p>
            <a:pPr algn="ctr" defTabSz="457200" eaLnBrk="1" fontAlgn="auto" hangingPunct="1">
              <a:spcBef>
                <a:spcPts val="0"/>
              </a:spcBef>
              <a:spcAft>
                <a:spcPts val="0"/>
              </a:spcAft>
              <a:defRPr/>
            </a:pPr>
            <a:endParaRPr lang="en-US" sz="1800">
              <a:solidFill>
                <a:srgbClr val="FFFFFF"/>
              </a:solidFill>
            </a:endParaRPr>
          </a:p>
        </p:txBody>
      </p:sp>
      <p:pic>
        <p:nvPicPr>
          <p:cNvPr id="5" name="Picture 6" descr="LOGO CE-EN-quadri.eps"/>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2112963" cy="1100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2351584" y="44629"/>
            <a:ext cx="9697077" cy="742703"/>
          </a:xfrm>
        </p:spPr>
        <p:txBody>
          <a:bodyPr/>
          <a:lstStyle>
            <a:lvl1pPr>
              <a:defRPr sz="2400" b="0">
                <a:solidFill>
                  <a:schemeClr val="bg1"/>
                </a:solidFill>
              </a:defRPr>
            </a:lvl1pPr>
          </a:lstStyle>
          <a:p>
            <a:r>
              <a:rPr lang="en-US" dirty="0"/>
              <a:t>Click to edit Master title style</a:t>
            </a:r>
            <a:endParaRPr lang="en-GB" dirty="0"/>
          </a:p>
        </p:txBody>
      </p:sp>
      <p:sp>
        <p:nvSpPr>
          <p:cNvPr id="10" name="Content Placeholder 2"/>
          <p:cNvSpPr>
            <a:spLocks noGrp="1"/>
          </p:cNvSpPr>
          <p:nvPr>
            <p:ph idx="1"/>
          </p:nvPr>
        </p:nvSpPr>
        <p:spPr>
          <a:xfrm>
            <a:off x="609600" y="1340768"/>
            <a:ext cx="10972800" cy="4857924"/>
          </a:xfrm>
        </p:spPr>
        <p:txBody>
          <a:bodyPr/>
          <a:lstStyle>
            <a:lvl1pPr marL="342900" indent="-342900">
              <a:buClr>
                <a:srgbClr val="0F5494"/>
              </a:buClr>
              <a:buFont typeface="Arial" pitchFamily="34" charset="0"/>
              <a:buChar char="•"/>
              <a:defRPr sz="2000" i="0">
                <a:solidFill>
                  <a:srgbClr val="0D3F89"/>
                </a:solidFill>
              </a:defRPr>
            </a:lvl1pPr>
            <a:lvl2pPr>
              <a:buClr>
                <a:srgbClr val="0F5494"/>
              </a:buClr>
              <a:defRPr sz="1800" b="0">
                <a:solidFill>
                  <a:srgbClr val="C00000"/>
                </a:solidFill>
              </a:defRPr>
            </a:lvl2pPr>
            <a:lvl3pPr marL="1200150" indent="-285750">
              <a:buFont typeface="Arial" pitchFamily="34" charset="0"/>
              <a:buChar char="•"/>
              <a:defRPr sz="1600">
                <a:solidFill>
                  <a:srgbClr val="003300"/>
                </a:solidFill>
              </a:defRPr>
            </a:lvl3pPr>
          </a:lstStyle>
          <a:p>
            <a:pPr lvl="0"/>
            <a:r>
              <a:rPr lang="en-US" dirty="0"/>
              <a:t>Click to edit Master text styles</a:t>
            </a:r>
          </a:p>
          <a:p>
            <a:pPr lvl="1"/>
            <a:r>
              <a:rPr lang="en-US" dirty="0"/>
              <a:t>Second level</a:t>
            </a:r>
          </a:p>
          <a:p>
            <a:pPr lvl="2"/>
            <a:r>
              <a:rPr lang="en-US" dirty="0"/>
              <a:t>Third level</a:t>
            </a:r>
          </a:p>
        </p:txBody>
      </p:sp>
      <p:sp>
        <p:nvSpPr>
          <p:cNvPr id="6" name="Rectangle 4">
            <a:extLst>
              <a:ext uri="{FF2B5EF4-FFF2-40B4-BE49-F238E27FC236}">
                <a16:creationId xmlns:a16="http://schemas.microsoft.com/office/drawing/2014/main" id="{03A04E34-B820-4092-BE3B-0DF3CAF4D43A}"/>
              </a:ext>
            </a:extLst>
          </p:cNvPr>
          <p:cNvSpPr>
            <a:spLocks noGrp="1" noChangeArrowheads="1"/>
          </p:cNvSpPr>
          <p:nvPr>
            <p:ph type="dt" sz="half" idx="10"/>
          </p:nvPr>
        </p:nvSpPr>
        <p:spPr/>
        <p:txBody>
          <a:bodyPr/>
          <a:lstStyle>
            <a:lvl1pPr>
              <a:defRPr sz="1200">
                <a:cs typeface="Arial" pitchFamily="34" charset="0"/>
              </a:defRPr>
            </a:lvl1pPr>
          </a:lstStyle>
          <a:p>
            <a:pPr>
              <a:defRPr/>
            </a:pPr>
            <a:r>
              <a:rPr lang="en-GB"/>
              <a:t>28 Sept 2018</a:t>
            </a:r>
          </a:p>
        </p:txBody>
      </p:sp>
      <p:sp>
        <p:nvSpPr>
          <p:cNvPr id="7" name="Rectangle 5">
            <a:extLst>
              <a:ext uri="{FF2B5EF4-FFF2-40B4-BE49-F238E27FC236}">
                <a16:creationId xmlns:a16="http://schemas.microsoft.com/office/drawing/2014/main" id="{69BE8D89-21BC-4EF6-AAE4-8E44858A86D5}"/>
              </a:ext>
            </a:extLst>
          </p:cNvPr>
          <p:cNvSpPr>
            <a:spLocks noGrp="1" noChangeArrowheads="1"/>
          </p:cNvSpPr>
          <p:nvPr>
            <p:ph type="ftr" sz="quarter" idx="11"/>
          </p:nvPr>
        </p:nvSpPr>
        <p:spPr/>
        <p:txBody>
          <a:bodyPr/>
          <a:lstStyle>
            <a:lvl1pPr>
              <a:defRPr/>
            </a:lvl1pPr>
          </a:lstStyle>
          <a:p>
            <a:pPr>
              <a:defRPr/>
            </a:pPr>
            <a:r>
              <a:rPr lang="en-GB"/>
              <a:t>…</a:t>
            </a:r>
          </a:p>
        </p:txBody>
      </p:sp>
      <p:sp>
        <p:nvSpPr>
          <p:cNvPr id="8" name="Rectangle 6">
            <a:extLst>
              <a:ext uri="{FF2B5EF4-FFF2-40B4-BE49-F238E27FC236}">
                <a16:creationId xmlns:a16="http://schemas.microsoft.com/office/drawing/2014/main" id="{AE7D052D-998E-4490-A652-DC80A2BA31BF}"/>
              </a:ext>
            </a:extLst>
          </p:cNvPr>
          <p:cNvSpPr>
            <a:spLocks noGrp="1" noChangeArrowheads="1"/>
          </p:cNvSpPr>
          <p:nvPr>
            <p:ph type="sldNum" sz="quarter" idx="12"/>
          </p:nvPr>
        </p:nvSpPr>
        <p:spPr/>
        <p:txBody>
          <a:bodyPr/>
          <a:lstStyle>
            <a:lvl1pPr>
              <a:defRPr sz="1200">
                <a:latin typeface="Arial" panose="020B0604020202020204" pitchFamily="34" charset="0"/>
              </a:defRPr>
            </a:lvl1pPr>
          </a:lstStyle>
          <a:p>
            <a:pPr>
              <a:defRPr/>
            </a:pPr>
            <a:r>
              <a:rPr lang="en-GB" altLang="de-DE"/>
              <a:t>DG CONNECT page </a:t>
            </a:r>
            <a:fld id="{842FCB43-2F46-4300-BD2E-47039F188C6B}" type="slidenum">
              <a:rPr lang="en-GB" altLang="de-DE"/>
              <a:pPr>
                <a:defRPr/>
              </a:pPr>
              <a:t>‹#›</a:t>
            </a:fld>
            <a:endParaRPr lang="en-GB" altLang="de-DE"/>
          </a:p>
        </p:txBody>
      </p:sp>
    </p:spTree>
    <p:extLst>
      <p:ext uri="{BB962C8B-B14F-4D97-AF65-F5344CB8AC3E}">
        <p14:creationId xmlns:p14="http://schemas.microsoft.com/office/powerpoint/2010/main" val="266821570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802219"/>
            <a:ext cx="12192000" cy="6059194"/>
          </a:xfrm>
          <a:prstGeom prst="rect">
            <a:avLst/>
          </a:prstGeom>
        </p:spPr>
      </p:pic>
      <p:sp>
        <p:nvSpPr>
          <p:cNvPr id="14" name="Rectangle 13"/>
          <p:cNvSpPr/>
          <p:nvPr userDrawn="1"/>
        </p:nvSpPr>
        <p:spPr>
          <a:xfrm>
            <a:off x="5289" y="1078173"/>
            <a:ext cx="12197346" cy="5783239"/>
          </a:xfrm>
          <a:prstGeom prst="rect">
            <a:avLst/>
          </a:prstGeom>
          <a:solidFill>
            <a:srgbClr val="024EA2">
              <a:alpha val="7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solidFill>
                <a:schemeClr val="accent4"/>
              </a:solidFill>
            </a:endParaRPr>
          </a:p>
        </p:txBody>
      </p:sp>
      <p:sp>
        <p:nvSpPr>
          <p:cNvPr id="2" name="Rectangle 1"/>
          <p:cNvSpPr/>
          <p:nvPr userDrawn="1"/>
        </p:nvSpPr>
        <p:spPr>
          <a:xfrm>
            <a:off x="0" y="0"/>
            <a:ext cx="12192000" cy="107817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Title 1"/>
          <p:cNvSpPr>
            <a:spLocks noGrp="1"/>
          </p:cNvSpPr>
          <p:nvPr>
            <p:ph type="ctrTitle"/>
          </p:nvPr>
        </p:nvSpPr>
        <p:spPr>
          <a:xfrm>
            <a:off x="1071350" y="1992572"/>
            <a:ext cx="10065224" cy="2149523"/>
          </a:xfrm>
        </p:spPr>
        <p:txBody>
          <a:bodyPr wrap="none" anchor="t">
            <a:noAutofit/>
          </a:bodyPr>
          <a:lstStyle>
            <a:lvl1pPr algn="l">
              <a:defRPr sz="6000" b="0">
                <a:solidFill>
                  <a:schemeClr val="bg1"/>
                </a:solidFill>
              </a:defRPr>
            </a:lvl1pPr>
          </a:lstStyle>
          <a:p>
            <a:r>
              <a:rPr lang="en-US" smtClean="0"/>
              <a:t>Click to edit Master title style</a:t>
            </a:r>
            <a:endParaRPr lang="en-GB" dirty="0"/>
          </a:p>
        </p:txBody>
      </p:sp>
      <p:cxnSp>
        <p:nvCxnSpPr>
          <p:cNvPr id="7" name="Straight Connector 6"/>
          <p:cNvCxnSpPr/>
          <p:nvPr userDrawn="1"/>
        </p:nvCxnSpPr>
        <p:spPr>
          <a:xfrm>
            <a:off x="838200" y="1978925"/>
            <a:ext cx="0" cy="4879075"/>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1" name="Rectangle 10"/>
          <p:cNvSpPr/>
          <p:nvPr userDrawn="1"/>
        </p:nvSpPr>
        <p:spPr>
          <a:xfrm>
            <a:off x="5741158" y="6619164"/>
            <a:ext cx="707409" cy="240594"/>
          </a:xfrm>
          <a:prstGeom prst="rect">
            <a:avLst/>
          </a:prstGeom>
          <a:solidFill>
            <a:srgbClr val="00449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12" name="Subtitle 2"/>
          <p:cNvSpPr>
            <a:spLocks noGrp="1"/>
          </p:cNvSpPr>
          <p:nvPr>
            <p:ph type="subTitle" idx="1"/>
          </p:nvPr>
        </p:nvSpPr>
        <p:spPr>
          <a:xfrm>
            <a:off x="1071351" y="4418049"/>
            <a:ext cx="10065224" cy="897754"/>
          </a:xfrm>
        </p:spPr>
        <p:txBody>
          <a:bodyPr wrap="none">
            <a:noAutofit/>
          </a:bodyPr>
          <a:lstStyle>
            <a:lvl1pPr marL="0" indent="0" algn="l">
              <a:buNone/>
              <a:defRPr sz="2800" i="0">
                <a:solidFill>
                  <a:schemeClr val="accent5"/>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pic>
        <p:nvPicPr>
          <p:cNvPr id="3" name="Picture 2"/>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5388933" y="258042"/>
            <a:ext cx="1659793" cy="1152460"/>
          </a:xfrm>
          <a:prstGeom prst="rect">
            <a:avLst/>
          </a:prstGeom>
        </p:spPr>
      </p:pic>
      <p:sp>
        <p:nvSpPr>
          <p:cNvPr id="16" name="Text Placeholder 18"/>
          <p:cNvSpPr>
            <a:spLocks noGrp="1"/>
          </p:cNvSpPr>
          <p:nvPr>
            <p:ph type="body" sz="quarter" idx="13"/>
          </p:nvPr>
        </p:nvSpPr>
        <p:spPr>
          <a:xfrm>
            <a:off x="6096000" y="5557903"/>
            <a:ext cx="5040313" cy="528998"/>
          </a:xfrm>
        </p:spPr>
        <p:txBody>
          <a:bodyPr wrap="none">
            <a:noAutofit/>
          </a:bodyPr>
          <a:lstStyle>
            <a:lvl1pPr marL="0" indent="0" algn="r">
              <a:buFontTx/>
              <a:buNone/>
              <a:defRPr sz="2200" i="1">
                <a:solidFill>
                  <a:schemeClr val="bg1"/>
                </a:solidFill>
              </a:defRPr>
            </a:lvl1pPr>
          </a:lstStyle>
          <a:p>
            <a:pPr lvl="0"/>
            <a:r>
              <a:rPr lang="en-US" smtClean="0"/>
              <a:t>Edit Master text styles</a:t>
            </a:r>
          </a:p>
        </p:txBody>
      </p:sp>
    </p:spTree>
    <p:extLst>
      <p:ext uri="{BB962C8B-B14F-4D97-AF65-F5344CB8AC3E}">
        <p14:creationId xmlns:p14="http://schemas.microsoft.com/office/powerpoint/2010/main" val="1824428724"/>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Chapter Slide">
    <p:spTree>
      <p:nvGrpSpPr>
        <p:cNvPr id="1" name=""/>
        <p:cNvGrpSpPr/>
        <p:nvPr/>
      </p:nvGrpSpPr>
      <p:grpSpPr>
        <a:xfrm>
          <a:off x="0" y="0"/>
          <a:ext cx="0" cy="0"/>
          <a:chOff x="0" y="0"/>
          <a:chExt cx="0" cy="0"/>
        </a:xfrm>
      </p:grpSpPr>
      <p:sp>
        <p:nvSpPr>
          <p:cNvPr id="4" name="Rectangle 3"/>
          <p:cNvSpPr/>
          <p:nvPr userDrawn="1"/>
        </p:nvSpPr>
        <p:spPr>
          <a:xfrm>
            <a:off x="0" y="0"/>
            <a:ext cx="12192000" cy="6858000"/>
          </a:xfrm>
          <a:prstGeom prst="rect">
            <a:avLst/>
          </a:prstGeom>
          <a:solidFill>
            <a:srgbClr val="0356B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2" name="Title 1"/>
          <p:cNvSpPr>
            <a:spLocks noGrp="1"/>
          </p:cNvSpPr>
          <p:nvPr>
            <p:ph type="ctrTitle"/>
          </p:nvPr>
        </p:nvSpPr>
        <p:spPr>
          <a:xfrm>
            <a:off x="1070189" y="1122363"/>
            <a:ext cx="10676038" cy="2387600"/>
          </a:xfrm>
        </p:spPr>
        <p:txBody>
          <a:bodyPr anchor="b">
            <a:noAutofit/>
          </a:bodyPr>
          <a:lstStyle>
            <a:lvl1pPr algn="l">
              <a:defRPr sz="6000">
                <a:solidFill>
                  <a:schemeClr val="accent5"/>
                </a:solidFill>
              </a:defRPr>
            </a:lvl1pPr>
          </a:lstStyle>
          <a:p>
            <a:r>
              <a:rPr lang="en-US" smtClean="0"/>
              <a:t>Click to edit Master title style</a:t>
            </a:r>
            <a:endParaRPr lang="en-GB" dirty="0"/>
          </a:p>
        </p:txBody>
      </p:sp>
      <p:sp>
        <p:nvSpPr>
          <p:cNvPr id="3" name="Subtitle 2"/>
          <p:cNvSpPr>
            <a:spLocks noGrp="1"/>
          </p:cNvSpPr>
          <p:nvPr>
            <p:ph type="subTitle" idx="1"/>
          </p:nvPr>
        </p:nvSpPr>
        <p:spPr>
          <a:xfrm>
            <a:off x="1070189" y="3602038"/>
            <a:ext cx="10676038" cy="1655762"/>
          </a:xfrm>
        </p:spPr>
        <p:txBody>
          <a:bodyPr>
            <a:noAutofit/>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
        <p:nvSpPr>
          <p:cNvPr id="6" name="Slide Number Placeholder 5"/>
          <p:cNvSpPr>
            <a:spLocks noGrp="1"/>
          </p:cNvSpPr>
          <p:nvPr>
            <p:ph type="sldNum" sz="quarter" idx="12"/>
          </p:nvPr>
        </p:nvSpPr>
        <p:spPr/>
        <p:txBody>
          <a:bodyPr>
            <a:noAutofit/>
          </a:bodyPr>
          <a:lstStyle>
            <a:lvl1pPr>
              <a:defRPr>
                <a:solidFill>
                  <a:schemeClr val="bg1"/>
                </a:solidFill>
              </a:defRPr>
            </a:lvl1pPr>
          </a:lstStyle>
          <a:p>
            <a:fld id="{F46C79FD-C571-418B-AB0F-5EE936C85276}" type="slidenum">
              <a:rPr lang="en-GB" smtClean="0"/>
              <a:pPr/>
              <a:t>‹#›</a:t>
            </a:fld>
            <a:endParaRPr lang="en-GB" dirty="0"/>
          </a:p>
        </p:txBody>
      </p:sp>
      <p:cxnSp>
        <p:nvCxnSpPr>
          <p:cNvPr id="7" name="Straight Connector 6"/>
          <p:cNvCxnSpPr/>
          <p:nvPr userDrawn="1"/>
        </p:nvCxnSpPr>
        <p:spPr>
          <a:xfrm>
            <a:off x="838200" y="0"/>
            <a:ext cx="0" cy="3295934"/>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27715" y="6045257"/>
            <a:ext cx="1718512" cy="451153"/>
          </a:xfrm>
          <a:prstGeom prst="rect">
            <a:avLst/>
          </a:prstGeom>
        </p:spPr>
      </p:pic>
    </p:spTree>
    <p:extLst>
      <p:ext uri="{BB962C8B-B14F-4D97-AF65-F5344CB8AC3E}">
        <p14:creationId xmlns:p14="http://schemas.microsoft.com/office/powerpoint/2010/main" val="378869909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hapter Slide (2)">
    <p:spTree>
      <p:nvGrpSpPr>
        <p:cNvPr id="1" name=""/>
        <p:cNvGrpSpPr/>
        <p:nvPr/>
      </p:nvGrpSpPr>
      <p:grpSpPr>
        <a:xfrm>
          <a:off x="0" y="0"/>
          <a:ext cx="0" cy="0"/>
          <a:chOff x="0" y="0"/>
          <a:chExt cx="0" cy="0"/>
        </a:xfrm>
      </p:grpSpPr>
      <p:sp>
        <p:nvSpPr>
          <p:cNvPr id="7" name="Rectangle 6"/>
          <p:cNvSpPr/>
          <p:nvPr userDrawn="1"/>
        </p:nvSpPr>
        <p:spPr>
          <a:xfrm>
            <a:off x="0" y="0"/>
            <a:ext cx="12192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033852" y="6045865"/>
            <a:ext cx="1716200" cy="450546"/>
          </a:xfrm>
          <a:prstGeom prst="rect">
            <a:avLst/>
          </a:prstGeom>
        </p:spPr>
      </p:pic>
      <p:sp>
        <p:nvSpPr>
          <p:cNvPr id="11" name="Title 1"/>
          <p:cNvSpPr>
            <a:spLocks noGrp="1"/>
          </p:cNvSpPr>
          <p:nvPr>
            <p:ph type="ctrTitle"/>
          </p:nvPr>
        </p:nvSpPr>
        <p:spPr>
          <a:xfrm>
            <a:off x="1077013" y="1122363"/>
            <a:ext cx="10156297" cy="2387600"/>
          </a:xfrm>
        </p:spPr>
        <p:txBody>
          <a:bodyPr anchor="b">
            <a:noAutofit/>
          </a:bodyPr>
          <a:lstStyle>
            <a:lvl1pPr algn="l">
              <a:defRPr sz="6000">
                <a:solidFill>
                  <a:schemeClr val="tx2"/>
                </a:solidFill>
              </a:defRPr>
            </a:lvl1pPr>
          </a:lstStyle>
          <a:p>
            <a:r>
              <a:rPr lang="en-US" smtClean="0"/>
              <a:t>Click to edit Master title style</a:t>
            </a:r>
            <a:endParaRPr lang="en-GB" dirty="0"/>
          </a:p>
        </p:txBody>
      </p:sp>
      <p:cxnSp>
        <p:nvCxnSpPr>
          <p:cNvPr id="13" name="Straight Connector 12"/>
          <p:cNvCxnSpPr/>
          <p:nvPr userDrawn="1"/>
        </p:nvCxnSpPr>
        <p:spPr>
          <a:xfrm>
            <a:off x="838200" y="0"/>
            <a:ext cx="0" cy="3295934"/>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1070189" y="3602038"/>
            <a:ext cx="10156297" cy="1655762"/>
          </a:xfrm>
        </p:spPr>
        <p:txBody>
          <a:bodyPr>
            <a:noAutofit/>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Tree>
    <p:extLst>
      <p:ext uri="{BB962C8B-B14F-4D97-AF65-F5344CB8AC3E}">
        <p14:creationId xmlns:p14="http://schemas.microsoft.com/office/powerpoint/2010/main" val="93250994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Last slide (option 1)">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tx2"/>
                </a:solidFill>
              </a:defRPr>
            </a:lvl1pPr>
          </a:lstStyle>
          <a:p>
            <a:r>
              <a:rPr lang="en-US" smtClean="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Tree>
    <p:extLst>
      <p:ext uri="{BB962C8B-B14F-4D97-AF65-F5344CB8AC3E}">
        <p14:creationId xmlns:p14="http://schemas.microsoft.com/office/powerpoint/2010/main" val="1688604818"/>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Last slide (option 2)">
    <p:spTree>
      <p:nvGrpSpPr>
        <p:cNvPr id="1" name=""/>
        <p:cNvGrpSpPr/>
        <p:nvPr/>
      </p:nvGrpSpPr>
      <p:grpSpPr>
        <a:xfrm>
          <a:off x="0" y="0"/>
          <a:ext cx="0" cy="0"/>
          <a:chOff x="0" y="0"/>
          <a:chExt cx="0" cy="0"/>
        </a:xfrm>
      </p:grpSpPr>
      <p:sp>
        <p:nvSpPr>
          <p:cNvPr id="7" name="Rectangle 6"/>
          <p:cNvSpPr/>
          <p:nvPr userDrawn="1"/>
        </p:nvSpPr>
        <p:spPr>
          <a:xfrm>
            <a:off x="0" y="1"/>
            <a:ext cx="12192000" cy="342899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GB"/>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sp>
        <p:nvSpPr>
          <p:cNvPr id="11" name="Title 1"/>
          <p:cNvSpPr>
            <a:spLocks noGrp="1"/>
          </p:cNvSpPr>
          <p:nvPr>
            <p:ph type="ctrTitle"/>
          </p:nvPr>
        </p:nvSpPr>
        <p:spPr>
          <a:xfrm>
            <a:off x="1077013" y="1122363"/>
            <a:ext cx="10156297" cy="1240348"/>
          </a:xfrm>
        </p:spPr>
        <p:txBody>
          <a:bodyPr anchor="b">
            <a:noAutofit/>
          </a:bodyPr>
          <a:lstStyle>
            <a:lvl1pPr algn="l">
              <a:defRPr sz="6000">
                <a:solidFill>
                  <a:schemeClr val="accent5"/>
                </a:solidFill>
              </a:defRPr>
            </a:lvl1pPr>
          </a:lstStyle>
          <a:p>
            <a:r>
              <a:rPr lang="en-US" smtClean="0"/>
              <a:t>Click to edit Master title style</a:t>
            </a:r>
            <a:endParaRPr lang="en-GB" dirty="0"/>
          </a:p>
        </p:txBody>
      </p:sp>
      <p:cxnSp>
        <p:nvCxnSpPr>
          <p:cNvPr id="13" name="Straight Connector 12"/>
          <p:cNvCxnSpPr/>
          <p:nvPr userDrawn="1"/>
        </p:nvCxnSpPr>
        <p:spPr>
          <a:xfrm>
            <a:off x="838200" y="0"/>
            <a:ext cx="0" cy="2362711"/>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4" name="Subtitle 2"/>
          <p:cNvSpPr>
            <a:spLocks noGrp="1"/>
          </p:cNvSpPr>
          <p:nvPr>
            <p:ph type="subTitle" idx="1"/>
          </p:nvPr>
        </p:nvSpPr>
        <p:spPr>
          <a:xfrm>
            <a:off x="838200" y="4160826"/>
            <a:ext cx="10889439" cy="1620145"/>
          </a:xfrm>
        </p:spPr>
        <p:txBody>
          <a:bodyPr>
            <a:noAutofit/>
          </a:bodyPr>
          <a:lstStyle>
            <a:lvl1pPr marL="0" indent="0" algn="l">
              <a:buNone/>
              <a:defRPr sz="1400">
                <a:solidFill>
                  <a:schemeClr val="bg1">
                    <a:lumMod val="5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GB" dirty="0"/>
          </a:p>
        </p:txBody>
      </p:sp>
    </p:spTree>
    <p:extLst>
      <p:ext uri="{BB962C8B-B14F-4D97-AF65-F5344CB8AC3E}">
        <p14:creationId xmlns:p14="http://schemas.microsoft.com/office/powerpoint/2010/main" val="2588339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199" y="1825625"/>
            <a:ext cx="10905699" cy="3881904"/>
          </a:xfrm>
        </p:spPr>
        <p:txBody>
          <a:bodyPr>
            <a:normAutofit/>
          </a:bodyPr>
          <a:lstStyle>
            <a:lvl1pPr>
              <a:lnSpc>
                <a:spcPct val="100000"/>
              </a:lnSpc>
              <a:spcBef>
                <a:spcPts val="0"/>
              </a:spcBef>
              <a:spcAft>
                <a:spcPts val="600"/>
              </a:spcAft>
              <a:defRPr/>
            </a:lvl1pPr>
            <a:lvl2pPr>
              <a:lnSpc>
                <a:spcPct val="100000"/>
              </a:lnSpc>
              <a:spcBef>
                <a:spcPts val="600"/>
              </a:spcBef>
              <a:spcAft>
                <a:spcPts val="0"/>
              </a:spcAft>
              <a:defRPr/>
            </a:lvl2pPr>
            <a:lvl3pPr>
              <a:lnSpc>
                <a:spcPct val="100000"/>
              </a:lnSpc>
              <a:spcBef>
                <a:spcPts val="600"/>
              </a:spcBef>
              <a:spcAft>
                <a:spcPts val="0"/>
              </a:spcAft>
              <a:defRPr/>
            </a:lvl3pPr>
            <a:lvl4pPr>
              <a:lnSpc>
                <a:spcPct val="100000"/>
              </a:lnSpc>
              <a:spcBef>
                <a:spcPts val="600"/>
              </a:spcBef>
              <a:spcAft>
                <a:spcPts val="0"/>
              </a:spcAft>
              <a:defRPr/>
            </a:lvl4pPr>
            <a:lvl5pPr>
              <a:lnSpc>
                <a:spcPct val="100000"/>
              </a:lnSpc>
              <a:spcBef>
                <a:spcPts val="600"/>
              </a:spcBef>
              <a:spcAft>
                <a:spcPts val="0"/>
              </a:spcAf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5"/>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7" name="Straight Connector 6"/>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9"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304234157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ntent and Objec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198" y="1825625"/>
            <a:ext cx="5328000" cy="3906435"/>
          </a:xfrm>
        </p:spPr>
        <p:txBody>
          <a:bodyPr>
            <a:noAutofit/>
          </a:bodyPr>
          <a:lstStyle>
            <a:lvl1pPr>
              <a:spcAft>
                <a:spcPts val="1800"/>
              </a:spcAft>
              <a:defRPr/>
            </a:lvl1pPr>
            <a:lvl2pPr>
              <a:spcAft>
                <a:spcPts val="1800"/>
              </a:spcAft>
              <a:defRPr/>
            </a:lvl2pPr>
            <a:lvl3pPr>
              <a:spcAft>
                <a:spcPts val="1800"/>
              </a:spcAft>
              <a:defRPr/>
            </a:lvl3pPr>
            <a:lvl4pPr>
              <a:spcAft>
                <a:spcPts val="1800"/>
              </a:spcAft>
              <a:defRPr/>
            </a:lvl4pPr>
            <a:lvl5pPr>
              <a:spcAft>
                <a:spcPts val="1800"/>
              </a:spcAft>
              <a:defRPr/>
            </a:lvl5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4" name="Content Placeholder 3"/>
          <p:cNvSpPr>
            <a:spLocks noGrp="1"/>
          </p:cNvSpPr>
          <p:nvPr>
            <p:ph sz="half" idx="2"/>
          </p:nvPr>
        </p:nvSpPr>
        <p:spPr>
          <a:xfrm>
            <a:off x="6402250" y="1825625"/>
            <a:ext cx="5328000" cy="3906435"/>
          </a:xfrm>
          <a:noFill/>
        </p:spPr>
        <p:txBody>
          <a:bodyPr>
            <a:noAutofit/>
          </a:bodyPr>
          <a:lstStyle>
            <a:lvl1pPr marL="0" indent="0">
              <a:buNone/>
              <a:defRPr/>
            </a:lvl1pPr>
          </a:lstStyle>
          <a:p>
            <a:pPr lvl="0"/>
            <a:r>
              <a:rPr lang="en-US" smtClean="0"/>
              <a:t>Edit Master text styles</a:t>
            </a:r>
          </a:p>
        </p:txBody>
      </p:sp>
      <p:sp>
        <p:nvSpPr>
          <p:cNvPr id="7" name="Slide Number Placeholder 6"/>
          <p:cNvSpPr>
            <a:spLocks noGrp="1"/>
          </p:cNvSpPr>
          <p:nvPr>
            <p:ph type="sldNum" sz="quarter" idx="12"/>
          </p:nvPr>
        </p:nvSpPr>
        <p:spPr/>
        <p:txBody>
          <a:bodyPr>
            <a:noAutofit/>
          </a:bodyPr>
          <a:lstStyle/>
          <a:p>
            <a:fld id="{F46C79FD-C571-418B-AB0F-5EE936C85276}" type="slidenum">
              <a:rPr lang="en-GB" smtClean="0"/>
              <a:t>‹#›</a:t>
            </a:fld>
            <a:endParaRPr lang="en-GB"/>
          </a:p>
        </p:txBody>
      </p:sp>
      <p:cxnSp>
        <p:nvCxnSpPr>
          <p:cNvPr id="9" name="Straight Connector 8"/>
          <p:cNvCxnSpPr/>
          <p:nvPr userDrawn="1"/>
        </p:nvCxnSpPr>
        <p:spPr>
          <a:xfrm flipH="1">
            <a:off x="838199" y="0"/>
            <a:ext cx="1" cy="1276357"/>
          </a:xfrm>
          <a:prstGeom prst="line">
            <a:avLst/>
          </a:prstGeom>
          <a:ln w="28575">
            <a:solidFill>
              <a:schemeClr val="accent5"/>
            </a:solidFill>
          </a:ln>
        </p:spPr>
        <p:style>
          <a:lnRef idx="1">
            <a:schemeClr val="accent1"/>
          </a:lnRef>
          <a:fillRef idx="0">
            <a:schemeClr val="accent1"/>
          </a:fillRef>
          <a:effectRef idx="0">
            <a:schemeClr val="accent1"/>
          </a:effectRef>
          <a:fontRef idx="minor">
            <a:schemeClr val="tx1"/>
          </a:fontRef>
        </p:style>
      </p:cxnSp>
      <p:sp>
        <p:nvSpPr>
          <p:cNvPr id="10" name="Title Placeholder 1"/>
          <p:cNvSpPr>
            <a:spLocks noGrp="1"/>
          </p:cNvSpPr>
          <p:nvPr>
            <p:ph type="title"/>
          </p:nvPr>
        </p:nvSpPr>
        <p:spPr>
          <a:xfrm>
            <a:off x="970722"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Tree>
    <p:extLst>
      <p:ext uri="{BB962C8B-B14F-4D97-AF65-F5344CB8AC3E}">
        <p14:creationId xmlns:p14="http://schemas.microsoft.com/office/powerpoint/2010/main" val="280383927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482860"/>
            <a:ext cx="10515600" cy="782357"/>
          </a:xfrm>
          <a:prstGeom prst="rect">
            <a:avLst/>
          </a:prstGeom>
        </p:spPr>
        <p:txBody>
          <a:bodyPr vert="horz" lIns="91440" tIns="45720" rIns="91440" bIns="0" rtlCol="0" anchor="b" anchorCtr="0">
            <a:noAutofit/>
          </a:bodyPr>
          <a:lstStyle/>
          <a:p>
            <a:r>
              <a:rPr lang="en-US" smtClean="0"/>
              <a:t>Click to edit Master title style</a:t>
            </a:r>
            <a:endParaRPr lang="en-GB" dirty="0"/>
          </a:p>
        </p:txBody>
      </p:sp>
      <p:sp>
        <p:nvSpPr>
          <p:cNvPr id="3" name="Text Placeholder 2"/>
          <p:cNvSpPr>
            <a:spLocks noGrp="1"/>
          </p:cNvSpPr>
          <p:nvPr>
            <p:ph type="body" idx="1"/>
          </p:nvPr>
        </p:nvSpPr>
        <p:spPr>
          <a:xfrm>
            <a:off x="838200" y="1825625"/>
            <a:ext cx="10515600" cy="3881904"/>
          </a:xfrm>
          <a:prstGeom prst="rect">
            <a:avLst/>
          </a:prstGeom>
        </p:spPr>
        <p:txBody>
          <a:bodyPr vert="horz" lIns="91440" tIns="45720" rIns="91440" bIns="45720" rtlCol="0">
            <a:normAutofit/>
          </a:bodyPr>
          <a:lstStyle/>
          <a:p>
            <a:pPr lvl="0"/>
            <a:r>
              <a:rPr lang="en-US" dirty="0" smtClean="0"/>
              <a:t>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5"/>
          <p:cNvSpPr>
            <a:spLocks noGrp="1"/>
          </p:cNvSpPr>
          <p:nvPr>
            <p:ph type="sldNum" sz="quarter" idx="4"/>
          </p:nvPr>
        </p:nvSpPr>
        <p:spPr>
          <a:xfrm>
            <a:off x="838200" y="6131286"/>
            <a:ext cx="2743200" cy="365125"/>
          </a:xfrm>
          <a:prstGeom prst="rect">
            <a:avLst/>
          </a:prstGeom>
        </p:spPr>
        <p:txBody>
          <a:bodyPr vert="horz" lIns="91440" tIns="45720" rIns="91440" bIns="45720" rtlCol="0" anchor="ctr">
            <a:noAutofit/>
          </a:bodyPr>
          <a:lstStyle>
            <a:lvl1pPr algn="l">
              <a:defRPr sz="1200">
                <a:solidFill>
                  <a:schemeClr val="tx1">
                    <a:tint val="75000"/>
                  </a:schemeClr>
                </a:solidFill>
              </a:defRPr>
            </a:lvl1pPr>
          </a:lstStyle>
          <a:p>
            <a:fld id="{F46C79FD-C571-418B-AB0F-5EE936C85276}" type="slidenum">
              <a:rPr lang="en-GB" smtClean="0"/>
              <a:pPr/>
              <a:t>‹#›</a:t>
            </a:fld>
            <a:endParaRPr lang="en-GB" dirty="0"/>
          </a:p>
        </p:txBody>
      </p:sp>
      <p:pic>
        <p:nvPicPr>
          <p:cNvPr id="7" name="Picture 6"/>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10033852" y="6045988"/>
            <a:ext cx="1715733" cy="450423"/>
          </a:xfrm>
          <a:prstGeom prst="rect">
            <a:avLst/>
          </a:prstGeom>
        </p:spPr>
      </p:pic>
    </p:spTree>
    <p:extLst>
      <p:ext uri="{BB962C8B-B14F-4D97-AF65-F5344CB8AC3E}">
        <p14:creationId xmlns:p14="http://schemas.microsoft.com/office/powerpoint/2010/main" val="459720850"/>
      </p:ext>
    </p:extLst>
  </p:cSld>
  <p:clrMap bg1="lt1" tx1="dk1" bg2="lt2" tx2="dk2" accent1="accent1" accent2="accent2" accent3="accent3" accent4="accent4" accent5="accent5" accent6="accent6" hlink="hlink" folHlink="folHlink"/>
  <p:sldLayoutIdLst>
    <p:sldLayoutId id="2147483656" r:id="rId1"/>
    <p:sldLayoutId id="2147483662" r:id="rId2"/>
    <p:sldLayoutId id="2147483657" r:id="rId3"/>
    <p:sldLayoutId id="2147483649" r:id="rId4"/>
    <p:sldLayoutId id="2147483651" r:id="rId5"/>
    <p:sldLayoutId id="2147483669" r:id="rId6"/>
    <p:sldLayoutId id="2147483670" r:id="rId7"/>
    <p:sldLayoutId id="2147483650" r:id="rId8"/>
    <p:sldLayoutId id="2147483660" r:id="rId9"/>
    <p:sldLayoutId id="2147483652" r:id="rId10"/>
    <p:sldLayoutId id="2147483661" r:id="rId11"/>
    <p:sldLayoutId id="2147483653" r:id="rId12"/>
    <p:sldLayoutId id="2147483654" r:id="rId13"/>
    <p:sldLayoutId id="2147483659" r:id="rId14"/>
    <p:sldLayoutId id="2147483658" r:id="rId15"/>
    <p:sldLayoutId id="2147483666" r:id="rId16"/>
    <p:sldLayoutId id="2147483667" r:id="rId17"/>
    <p:sldLayoutId id="2147483668" r:id="rId18"/>
    <p:sldLayoutId id="2147483655" r:id="rId19"/>
    <p:sldLayoutId id="2147483672" r:id="rId20"/>
  </p:sldLayoutIdLst>
  <p:hf sldNum="0" hdr="0" ftr="0" dt="0"/>
  <p:txStyles>
    <p:titleStyle>
      <a:lvl1pPr algn="l" defTabSz="914400" rtl="0" eaLnBrk="1" latinLnBrk="0" hangingPunct="1">
        <a:lnSpc>
          <a:spcPct val="90000"/>
        </a:lnSpc>
        <a:spcBef>
          <a:spcPct val="0"/>
        </a:spcBef>
        <a:buNone/>
        <a:defRPr sz="4000" kern="1200">
          <a:solidFill>
            <a:schemeClr val="tx2"/>
          </a:solidFill>
          <a:latin typeface="+mj-lt"/>
          <a:ea typeface="+mj-ea"/>
          <a:cs typeface="+mj-cs"/>
        </a:defRPr>
      </a:lvl1pPr>
    </p:titleStyle>
    <p:bodyStyle>
      <a:lvl1pPr marL="228600" indent="-2286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100000"/>
        </a:lnSpc>
        <a:spcBef>
          <a:spcPts val="600"/>
        </a:spcBef>
        <a:spcAft>
          <a:spcPts val="0"/>
        </a:spcAft>
        <a:buClr>
          <a:schemeClr val="tx2"/>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4.png"/><Relationship Id="rId18" Type="http://schemas.openxmlformats.org/officeDocument/2006/relationships/image" Target="../media/image32.png"/><Relationship Id="rId3" Type="http://schemas.openxmlformats.org/officeDocument/2006/relationships/tags" Target="../tags/tag7.xml"/><Relationship Id="rId7" Type="http://schemas.openxmlformats.org/officeDocument/2006/relationships/tags" Target="../tags/tag11.xml"/><Relationship Id="rId12" Type="http://schemas.openxmlformats.org/officeDocument/2006/relationships/image" Target="../media/image23.png"/><Relationship Id="rId17" Type="http://schemas.openxmlformats.org/officeDocument/2006/relationships/image" Target="../media/image31.jpeg"/><Relationship Id="rId2" Type="http://schemas.openxmlformats.org/officeDocument/2006/relationships/tags" Target="../tags/tag6.xml"/><Relationship Id="rId16" Type="http://schemas.openxmlformats.org/officeDocument/2006/relationships/image" Target="../media/image30.jfif"/><Relationship Id="rId1" Type="http://schemas.openxmlformats.org/officeDocument/2006/relationships/vmlDrawing" Target="../drawings/vmlDrawing4.vml"/><Relationship Id="rId6" Type="http://schemas.openxmlformats.org/officeDocument/2006/relationships/tags" Target="../tags/tag10.xml"/><Relationship Id="rId11" Type="http://schemas.openxmlformats.org/officeDocument/2006/relationships/image" Target="../media/image22.png"/><Relationship Id="rId5" Type="http://schemas.openxmlformats.org/officeDocument/2006/relationships/tags" Target="../tags/tag9.xml"/><Relationship Id="rId15" Type="http://schemas.openxmlformats.org/officeDocument/2006/relationships/image" Target="../media/image29.jfif"/><Relationship Id="rId10" Type="http://schemas.openxmlformats.org/officeDocument/2006/relationships/image" Target="../media/image17.emf"/><Relationship Id="rId4" Type="http://schemas.openxmlformats.org/officeDocument/2006/relationships/tags" Target="../tags/tag8.xml"/><Relationship Id="rId9" Type="http://schemas.openxmlformats.org/officeDocument/2006/relationships/oleObject" Target="../embeddings/oleObject3.bin"/><Relationship Id="rId14" Type="http://schemas.openxmlformats.org/officeDocument/2006/relationships/image" Target="../media/image25.png"/></Relationships>
</file>

<file path=ppt/slides/_rels/slide11.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8.xml"/><Relationship Id="rId7" Type="http://schemas.openxmlformats.org/officeDocument/2006/relationships/image" Target="../media/image34.jfi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image" Target="../media/image33.jpeg"/><Relationship Id="rId5" Type="http://schemas.openxmlformats.org/officeDocument/2006/relationships/image" Target="../media/image17.emf"/><Relationship Id="rId4" Type="http://schemas.openxmlformats.org/officeDocument/2006/relationships/oleObject" Target="../embeddings/oleObject3.bin"/><Relationship Id="rId9" Type="http://schemas.openxmlformats.org/officeDocument/2006/relationships/image" Target="../media/image36.jfif"/></Relationships>
</file>

<file path=ppt/slides/_rels/slide12.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38.png"/><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37.jpeg"/><Relationship Id="rId2" Type="http://schemas.openxmlformats.org/officeDocument/2006/relationships/tags" Target="../tags/tag13.xml"/><Relationship Id="rId1" Type="http://schemas.openxmlformats.org/officeDocument/2006/relationships/vmlDrawing" Target="../drawings/vmlDrawing6.vml"/><Relationship Id="rId6" Type="http://schemas.openxmlformats.org/officeDocument/2006/relationships/tags" Target="../tags/tag17.xml"/><Relationship Id="rId11" Type="http://schemas.openxmlformats.org/officeDocument/2006/relationships/image" Target="../media/image36.jfif"/><Relationship Id="rId5" Type="http://schemas.openxmlformats.org/officeDocument/2006/relationships/tags" Target="../tags/tag16.xml"/><Relationship Id="rId15" Type="http://schemas.openxmlformats.org/officeDocument/2006/relationships/image" Target="../media/image40.png"/><Relationship Id="rId10" Type="http://schemas.openxmlformats.org/officeDocument/2006/relationships/image" Target="../media/image17.emf"/><Relationship Id="rId4" Type="http://schemas.openxmlformats.org/officeDocument/2006/relationships/tags" Target="../tags/tag15.xml"/><Relationship Id="rId9" Type="http://schemas.openxmlformats.org/officeDocument/2006/relationships/oleObject" Target="../embeddings/oleObject3.bin"/><Relationship Id="rId14" Type="http://schemas.openxmlformats.org/officeDocument/2006/relationships/image" Target="../media/image39.jfif"/></Relationships>
</file>

<file path=ppt/slides/_rels/slide13.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image" Target="../media/image42.png"/><Relationship Id="rId7" Type="http://schemas.openxmlformats.org/officeDocument/2006/relationships/image" Target="../media/image46.png"/><Relationship Id="rId2" Type="http://schemas.openxmlformats.org/officeDocument/2006/relationships/image" Target="../media/image41.png"/><Relationship Id="rId1" Type="http://schemas.openxmlformats.org/officeDocument/2006/relationships/slideLayout" Target="../slideLayouts/slideLayout8.xml"/><Relationship Id="rId6" Type="http://schemas.openxmlformats.org/officeDocument/2006/relationships/image" Target="../media/image45.png"/><Relationship Id="rId11" Type="http://schemas.openxmlformats.org/officeDocument/2006/relationships/image" Target="../media/image25.png"/><Relationship Id="rId5" Type="http://schemas.openxmlformats.org/officeDocument/2006/relationships/image" Target="../media/image44.png"/><Relationship Id="rId10" Type="http://schemas.openxmlformats.org/officeDocument/2006/relationships/image" Target="../media/image24.png"/><Relationship Id="rId4" Type="http://schemas.openxmlformats.org/officeDocument/2006/relationships/image" Target="../media/image43.png"/><Relationship Id="rId9" Type="http://schemas.openxmlformats.org/officeDocument/2006/relationships/image" Target="../media/image23.png"/></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19.xml"/><Relationship Id="rId1" Type="http://schemas.openxmlformats.org/officeDocument/2006/relationships/vmlDrawing" Target="../drawings/vmlDrawing7.vml"/><Relationship Id="rId6" Type="http://schemas.openxmlformats.org/officeDocument/2006/relationships/image" Target="../media/image47.emf"/><Relationship Id="rId5" Type="http://schemas.openxmlformats.org/officeDocument/2006/relationships/oleObject" Target="../embeddings/oleObject4.bin"/><Relationship Id="rId4" Type="http://schemas.openxmlformats.org/officeDocument/2006/relationships/notesSlide" Target="../notesSlides/notesSlide7.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3.xml"/><Relationship Id="rId13" Type="http://schemas.openxmlformats.org/officeDocument/2006/relationships/image" Target="../media/image53.png"/><Relationship Id="rId3" Type="http://schemas.openxmlformats.org/officeDocument/2006/relationships/image" Target="../media/image48.png"/><Relationship Id="rId7" Type="http://schemas.openxmlformats.org/officeDocument/2006/relationships/diagramData" Target="../diagrams/data3.xml"/><Relationship Id="rId12" Type="http://schemas.openxmlformats.org/officeDocument/2006/relationships/image" Target="../media/image52.png"/><Relationship Id="rId2" Type="http://schemas.openxmlformats.org/officeDocument/2006/relationships/notesSlide" Target="../notesSlides/notesSlide8.xml"/><Relationship Id="rId16" Type="http://schemas.openxmlformats.org/officeDocument/2006/relationships/image" Target="../media/image56.png"/><Relationship Id="rId1" Type="http://schemas.openxmlformats.org/officeDocument/2006/relationships/slideLayout" Target="../slideLayouts/slideLayout8.xml"/><Relationship Id="rId6" Type="http://schemas.openxmlformats.org/officeDocument/2006/relationships/image" Target="../media/image51.jpeg"/><Relationship Id="rId11" Type="http://schemas.microsoft.com/office/2007/relationships/diagramDrawing" Target="../diagrams/drawing3.xml"/><Relationship Id="rId5" Type="http://schemas.openxmlformats.org/officeDocument/2006/relationships/image" Target="../media/image50.png"/><Relationship Id="rId15" Type="http://schemas.openxmlformats.org/officeDocument/2006/relationships/image" Target="../media/image55.png"/><Relationship Id="rId10" Type="http://schemas.openxmlformats.org/officeDocument/2006/relationships/diagramColors" Target="../diagrams/colors3.xml"/><Relationship Id="rId4" Type="http://schemas.openxmlformats.org/officeDocument/2006/relationships/image" Target="../media/image49.jpeg"/><Relationship Id="rId9" Type="http://schemas.openxmlformats.org/officeDocument/2006/relationships/diagramQuickStyle" Target="../diagrams/quickStyle3.xml"/><Relationship Id="rId14" Type="http://schemas.openxmlformats.org/officeDocument/2006/relationships/image" Target="../media/image54.png"/></Relationships>
</file>

<file path=ppt/slides/_rels/slide16.xml.rels><?xml version="1.0" encoding="UTF-8" standalone="yes"?>
<Relationships xmlns="http://schemas.openxmlformats.org/package/2006/relationships"><Relationship Id="rId3" Type="http://schemas.openxmlformats.org/officeDocument/2006/relationships/hyperlink" Target="https://creativecommons.org/licenses/by/4.0/"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4" Type="http://schemas.openxmlformats.org/officeDocument/2006/relationships/image" Target="../media/image57.png"/></Relationships>
</file>

<file path=ppt/slides/_rels/slide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8.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notesSlide" Target="../notesSlides/notesSlide2.xml"/><Relationship Id="rId4"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3.xml"/><Relationship Id="rId1" Type="http://schemas.openxmlformats.org/officeDocument/2006/relationships/slideLayout" Target="../slideLayouts/slideLayout8.xml"/><Relationship Id="rId5" Type="http://schemas.openxmlformats.org/officeDocument/2006/relationships/image" Target="../media/image11.png"/><Relationship Id="rId4" Type="http://schemas.openxmlformats.org/officeDocument/2006/relationships/image" Target="../media/image10.jpeg"/></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microsoft.com/office/2007/relationships/diagramDrawing" Target="../diagrams/drawing1.xml"/><Relationship Id="rId13" Type="http://schemas.microsoft.com/office/2007/relationships/diagramDrawing" Target="../diagrams/drawing2.xml"/><Relationship Id="rId3" Type="http://schemas.openxmlformats.org/officeDocument/2006/relationships/image" Target="../media/image15.png"/><Relationship Id="rId7" Type="http://schemas.openxmlformats.org/officeDocument/2006/relationships/diagramColors" Target="../diagrams/colors1.xml"/><Relationship Id="rId12" Type="http://schemas.openxmlformats.org/officeDocument/2006/relationships/diagramColors" Target="../diagrams/colors2.xml"/><Relationship Id="rId2" Type="http://schemas.openxmlformats.org/officeDocument/2006/relationships/notesSlide" Target="../notesSlides/notesSlide5.xml"/><Relationship Id="rId1" Type="http://schemas.openxmlformats.org/officeDocument/2006/relationships/slideLayout" Target="../slideLayouts/slideLayout8.xml"/><Relationship Id="rId6" Type="http://schemas.openxmlformats.org/officeDocument/2006/relationships/diagramQuickStyle" Target="../diagrams/quickStyle1.xml"/><Relationship Id="rId11" Type="http://schemas.openxmlformats.org/officeDocument/2006/relationships/diagramQuickStyle" Target="../diagrams/quickStyle2.xml"/><Relationship Id="rId5" Type="http://schemas.openxmlformats.org/officeDocument/2006/relationships/diagramLayout" Target="../diagrams/layout1.xml"/><Relationship Id="rId10" Type="http://schemas.openxmlformats.org/officeDocument/2006/relationships/diagramLayout" Target="../diagrams/layout2.xml"/><Relationship Id="rId4" Type="http://schemas.openxmlformats.org/officeDocument/2006/relationships/diagramData" Target="../diagrams/data1.xml"/><Relationship Id="rId9" Type="http://schemas.openxmlformats.org/officeDocument/2006/relationships/diagramData" Target="../diagrams/data2.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18.png"/><Relationship Id="rId13" Type="http://schemas.openxmlformats.org/officeDocument/2006/relationships/image" Target="../media/image14.svg"/><Relationship Id="rId3" Type="http://schemas.openxmlformats.org/officeDocument/2006/relationships/tags" Target="../tags/tag4.xml"/><Relationship Id="rId7" Type="http://schemas.openxmlformats.org/officeDocument/2006/relationships/image" Target="../media/image17.emf"/><Relationship Id="rId12" Type="http://schemas.openxmlformats.org/officeDocument/2006/relationships/image" Target="../media/image20.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oleObject" Target="../embeddings/oleObject2.bin"/><Relationship Id="rId11" Type="http://schemas.openxmlformats.org/officeDocument/2006/relationships/image" Target="../media/image12.svg"/><Relationship Id="rId5" Type="http://schemas.openxmlformats.org/officeDocument/2006/relationships/notesSlide" Target="../notesSlides/notesSlide6.xml"/><Relationship Id="rId10" Type="http://schemas.openxmlformats.org/officeDocument/2006/relationships/image" Target="../media/image19.png"/><Relationship Id="rId4" Type="http://schemas.openxmlformats.org/officeDocument/2006/relationships/slideLayout" Target="../slideLayouts/slideLayout13.xml"/><Relationship Id="rId9" Type="http://schemas.openxmlformats.org/officeDocument/2006/relationships/image" Target="../media/image10.sv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jfif"/><Relationship Id="rId3" Type="http://schemas.openxmlformats.org/officeDocument/2006/relationships/slideLayout" Target="../slideLayouts/slideLayout8.xml"/><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17.emf"/><Relationship Id="rId10" Type="http://schemas.openxmlformats.org/officeDocument/2006/relationships/image" Target="../media/image25.png"/><Relationship Id="rId4" Type="http://schemas.openxmlformats.org/officeDocument/2006/relationships/oleObject" Target="../embeddings/oleObject3.bin"/><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071349" y="1992572"/>
            <a:ext cx="10344367" cy="2149523"/>
          </a:xfrm>
        </p:spPr>
        <p:txBody>
          <a:bodyPr>
            <a:noAutofit/>
          </a:bodyPr>
          <a:lstStyle/>
          <a:p>
            <a:r>
              <a:rPr lang="en-GB" sz="4400" b="1" dirty="0">
                <a:solidFill>
                  <a:srgbClr val="FFC000"/>
                </a:solidFill>
              </a:rPr>
              <a:t>Addressing the paradigm shift </a:t>
            </a:r>
            <a:r>
              <a:rPr lang="en-GB" sz="4400" b="1" dirty="0" smtClean="0">
                <a:solidFill>
                  <a:srgbClr val="FFC000"/>
                </a:solidFill>
              </a:rPr>
              <a:t> </a:t>
            </a:r>
            <a:r>
              <a:rPr lang="en-GB" sz="4400" b="1" dirty="0" smtClean="0">
                <a:solidFill>
                  <a:schemeClr val="tx1"/>
                </a:solidFill>
              </a:rPr>
              <a:t/>
            </a:r>
            <a:br>
              <a:rPr lang="en-GB" sz="4400" b="1" dirty="0" smtClean="0">
                <a:solidFill>
                  <a:schemeClr val="tx1"/>
                </a:solidFill>
              </a:rPr>
            </a:br>
            <a:r>
              <a:rPr lang="en-GB" sz="3200" dirty="0" smtClean="0"/>
              <a:t>Methodological </a:t>
            </a:r>
            <a:r>
              <a:rPr lang="en-GB" sz="3200" dirty="0"/>
              <a:t>investment priorities for the medium term</a:t>
            </a:r>
            <a:endParaRPr lang="en-IE" sz="4400" dirty="0"/>
          </a:p>
        </p:txBody>
      </p:sp>
      <p:sp>
        <p:nvSpPr>
          <p:cNvPr id="7" name="Subtitle 6"/>
          <p:cNvSpPr>
            <a:spLocks noGrp="1"/>
          </p:cNvSpPr>
          <p:nvPr>
            <p:ph type="subTitle" idx="1"/>
          </p:nvPr>
        </p:nvSpPr>
        <p:spPr>
          <a:xfrm>
            <a:off x="1071351" y="5464824"/>
            <a:ext cx="10065224" cy="897754"/>
          </a:xfrm>
        </p:spPr>
        <p:txBody>
          <a:bodyPr/>
          <a:lstStyle/>
          <a:p>
            <a:r>
              <a:rPr lang="fr-FR" b="1" dirty="0"/>
              <a:t>Journées de méthodologie statistique (JMS) de l'Insee, 29-31 mars </a:t>
            </a:r>
            <a:r>
              <a:rPr lang="fr-FR" b="1" dirty="0" smtClean="0"/>
              <a:t>2022 – Horizon 2027</a:t>
            </a:r>
            <a:r>
              <a:rPr lang="en-US" b="1" dirty="0" smtClean="0"/>
              <a:t> </a:t>
            </a:r>
            <a:endParaRPr lang="en-GB" sz="2000" dirty="0"/>
          </a:p>
        </p:txBody>
      </p:sp>
      <p:sp>
        <p:nvSpPr>
          <p:cNvPr id="8" name="Text Placeholder 7"/>
          <p:cNvSpPr>
            <a:spLocks noGrp="1"/>
          </p:cNvSpPr>
          <p:nvPr>
            <p:ph type="body" sz="quarter" idx="13"/>
          </p:nvPr>
        </p:nvSpPr>
        <p:spPr>
          <a:xfrm>
            <a:off x="1378982" y="3938920"/>
            <a:ext cx="8696993" cy="528998"/>
          </a:xfrm>
        </p:spPr>
        <p:txBody>
          <a:bodyPr/>
          <a:lstStyle/>
          <a:p>
            <a:pPr algn="l"/>
            <a:r>
              <a:rPr lang="en-IE" sz="2400" dirty="0" smtClean="0"/>
              <a:t>Emanuele Baldacci</a:t>
            </a:r>
          </a:p>
          <a:p>
            <a:pPr algn="l"/>
            <a:r>
              <a:rPr lang="en-IE" sz="2400" dirty="0" smtClean="0"/>
              <a:t>Director of Resources, CIO, Eurostat – European Commission</a:t>
            </a:r>
            <a:endParaRPr lang="en-GB" sz="2400" dirty="0"/>
          </a:p>
        </p:txBody>
      </p:sp>
    </p:spTree>
    <p:extLst>
      <p:ext uri="{BB962C8B-B14F-4D97-AF65-F5344CB8AC3E}">
        <p14:creationId xmlns:p14="http://schemas.microsoft.com/office/powerpoint/2010/main" val="112137184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6" name="Object 395" hidden="1">
            <a:extLst>
              <a:ext uri="{FF2B5EF4-FFF2-40B4-BE49-F238E27FC236}">
                <a16:creationId xmlns:a16="http://schemas.microsoft.com/office/drawing/2014/main" id="{6BB23D97-C0E3-459C-B150-FD7002B5815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 name="think-cell Slide" r:id="rId9" imgW="473" imgH="473" progId="TCLayout.ActiveDocument.1">
                  <p:embed/>
                </p:oleObj>
              </mc:Choice>
              <mc:Fallback>
                <p:oleObj name="think-cell Slide" r:id="rId9" imgW="473" imgH="473" progId="TCLayout.ActiveDocument.1">
                  <p:embed/>
                  <p:pic>
                    <p:nvPicPr>
                      <p:cNvPr id="396" name="Object 395" hidden="1">
                        <a:extLst>
                          <a:ext uri="{FF2B5EF4-FFF2-40B4-BE49-F238E27FC236}">
                            <a16:creationId xmlns:a16="http://schemas.microsoft.com/office/drawing/2014/main" id="{6BB23D97-C0E3-459C-B150-FD7002B581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C3FBD8-4BB3-4724-92BF-6CCAA821E7C7}"/>
              </a:ext>
            </a:extLst>
          </p:cNvPr>
          <p:cNvSpPr>
            <a:spLocks noGrp="1"/>
          </p:cNvSpPr>
          <p:nvPr>
            <p:ph type="title"/>
          </p:nvPr>
        </p:nvSpPr>
        <p:spPr/>
        <p:txBody>
          <a:bodyPr vert="horz"/>
          <a:lstStyle/>
          <a:p>
            <a:r>
              <a:rPr lang="en-IE" sz="3600" dirty="0"/>
              <a:t>Methodological challenges : </a:t>
            </a:r>
            <a:r>
              <a:rPr lang="en-IE" sz="3600" dirty="0" smtClean="0"/>
              <a:t>(2) data integration</a:t>
            </a:r>
            <a:endParaRPr lang="en-BE" sz="3600" dirty="0"/>
          </a:p>
        </p:txBody>
      </p:sp>
      <p:sp>
        <p:nvSpPr>
          <p:cNvPr id="198" name="Title 2">
            <a:extLst>
              <a:ext uri="{FF2B5EF4-FFF2-40B4-BE49-F238E27FC236}">
                <a16:creationId xmlns:a16="http://schemas.microsoft.com/office/drawing/2014/main" id="{23244ED8-DB00-4F01-B1C3-58D5A73B0EE9}"/>
              </a:ext>
            </a:extLst>
          </p:cNvPr>
          <p:cNvSpPr txBox="1">
            <a:spLocks/>
          </p:cNvSpPr>
          <p:nvPr/>
        </p:nvSpPr>
        <p:spPr>
          <a:xfrm>
            <a:off x="457200" y="366713"/>
            <a:ext cx="11276013" cy="443198"/>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endParaRPr lang="en-BE"/>
          </a:p>
        </p:txBody>
      </p:sp>
      <p:sp>
        <p:nvSpPr>
          <p:cNvPr id="199" name="TextBox 198">
            <a:extLst>
              <a:ext uri="{FF2B5EF4-FFF2-40B4-BE49-F238E27FC236}">
                <a16:creationId xmlns:a16="http://schemas.microsoft.com/office/drawing/2014/main" id="{586A2C6A-98F0-4546-A582-077FE8F9B2BC}"/>
              </a:ext>
            </a:extLst>
          </p:cNvPr>
          <p:cNvSpPr txBox="1"/>
          <p:nvPr/>
        </p:nvSpPr>
        <p:spPr>
          <a:xfrm>
            <a:off x="1762550" y="1637342"/>
            <a:ext cx="2050561" cy="400110"/>
          </a:xfrm>
          <a:prstGeom prst="rect">
            <a:avLst/>
          </a:prstGeom>
          <a:noFill/>
          <a:ln>
            <a:noFill/>
          </a:ln>
        </p:spPr>
        <p:txBody>
          <a:bodyPr wrap="none" rtlCol="0">
            <a:spAutoFit/>
          </a:bodyPr>
          <a:lstStyle/>
          <a:p>
            <a:pPr algn="ctr" defTabSz="742950">
              <a:defRPr/>
            </a:pPr>
            <a:r>
              <a:rPr lang="en-BE" sz="2000" b="1" kern="0" dirty="0">
                <a:solidFill>
                  <a:srgbClr val="00254C"/>
                </a:solidFill>
              </a:rPr>
              <a:t>1. </a:t>
            </a:r>
            <a:r>
              <a:rPr lang="en-IE" sz="2000" b="1" kern="0" dirty="0" smtClean="0">
                <a:solidFill>
                  <a:srgbClr val="00254C"/>
                </a:solidFill>
              </a:rPr>
              <a:t>New sources</a:t>
            </a:r>
            <a:endParaRPr lang="en-BE" sz="2000" b="1" kern="0" dirty="0">
              <a:solidFill>
                <a:srgbClr val="00254C"/>
              </a:solidFill>
            </a:endParaRPr>
          </a:p>
        </p:txBody>
      </p:sp>
      <p:sp>
        <p:nvSpPr>
          <p:cNvPr id="200" name="TextBox 199">
            <a:extLst>
              <a:ext uri="{FF2B5EF4-FFF2-40B4-BE49-F238E27FC236}">
                <a16:creationId xmlns:a16="http://schemas.microsoft.com/office/drawing/2014/main" id="{19540246-EEC1-4560-B685-F7A3928F2692}"/>
              </a:ext>
            </a:extLst>
          </p:cNvPr>
          <p:cNvSpPr txBox="1"/>
          <p:nvPr/>
        </p:nvSpPr>
        <p:spPr>
          <a:xfrm>
            <a:off x="776377" y="2012239"/>
            <a:ext cx="4137105" cy="646331"/>
          </a:xfrm>
          <a:prstGeom prst="rect">
            <a:avLst/>
          </a:prstGeom>
          <a:noFill/>
          <a:ln>
            <a:noFill/>
          </a:ln>
        </p:spPr>
        <p:txBody>
          <a:bodyPr wrap="square" rtlCol="0">
            <a:spAutoFit/>
          </a:bodyPr>
          <a:lstStyle/>
          <a:p>
            <a:pPr lvl="1" fontAlgn="base">
              <a:spcAft>
                <a:spcPct val="0"/>
              </a:spcAft>
              <a:buClr>
                <a:srgbClr val="00529B"/>
              </a:buClr>
              <a:buSzPct val="100000"/>
            </a:pPr>
            <a:r>
              <a:rPr lang="en-IE" dirty="0" smtClean="0"/>
              <a:t>Calibration of new sources to population</a:t>
            </a:r>
            <a:endParaRPr lang="en-BE" dirty="0"/>
          </a:p>
        </p:txBody>
      </p:sp>
      <p:grpSp>
        <p:nvGrpSpPr>
          <p:cNvPr id="209" name="Group 208">
            <a:extLst>
              <a:ext uri="{FF2B5EF4-FFF2-40B4-BE49-F238E27FC236}">
                <a16:creationId xmlns:a16="http://schemas.microsoft.com/office/drawing/2014/main" id="{B6E56B7A-3AC5-43C0-9A20-2CA992729120}"/>
              </a:ext>
            </a:extLst>
          </p:cNvPr>
          <p:cNvGrpSpPr>
            <a:grpSpLocks noChangeAspect="1"/>
          </p:cNvGrpSpPr>
          <p:nvPr/>
        </p:nvGrpSpPr>
        <p:grpSpPr>
          <a:xfrm>
            <a:off x="2766402" y="3290490"/>
            <a:ext cx="1658415" cy="1658415"/>
            <a:chOff x="601033" y="2855912"/>
            <a:chExt cx="2041126" cy="2041126"/>
          </a:xfrm>
        </p:grpSpPr>
        <p:sp>
          <p:nvSpPr>
            <p:cNvPr id="210" name="Circle: Hollow 151">
              <a:extLst>
                <a:ext uri="{FF2B5EF4-FFF2-40B4-BE49-F238E27FC236}">
                  <a16:creationId xmlns:a16="http://schemas.microsoft.com/office/drawing/2014/main" id="{EA0FBA5C-CDF7-43AF-B1F1-583DF48F9F7C}"/>
                </a:ext>
              </a:extLst>
            </p:cNvPr>
            <p:cNvSpPr>
              <a:spLocks noChangeAspect="1"/>
            </p:cNvSpPr>
            <p:nvPr/>
          </p:nvSpPr>
          <p:spPr>
            <a:xfrm>
              <a:off x="763241" y="3018120"/>
              <a:ext cx="1716710" cy="1716710"/>
            </a:xfrm>
            <a:prstGeom prst="donut">
              <a:avLst>
                <a:gd name="adj" fmla="val 7139"/>
              </a:avLst>
            </a:prstGeom>
            <a:solidFill>
              <a:srgbClr val="00254C"/>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11" name="Group 210">
              <a:extLst>
                <a:ext uri="{FF2B5EF4-FFF2-40B4-BE49-F238E27FC236}">
                  <a16:creationId xmlns:a16="http://schemas.microsoft.com/office/drawing/2014/main" id="{D40665D1-DF90-49CB-9074-BFBEF482EA78}"/>
                </a:ext>
              </a:extLst>
            </p:cNvPr>
            <p:cNvGrpSpPr/>
            <p:nvPr/>
          </p:nvGrpSpPr>
          <p:grpSpPr>
            <a:xfrm>
              <a:off x="1534076" y="2855912"/>
              <a:ext cx="175040" cy="2041126"/>
              <a:chOff x="8229799" y="2768458"/>
              <a:chExt cx="175040" cy="2041126"/>
            </a:xfrm>
            <a:solidFill>
              <a:srgbClr val="00254C"/>
            </a:solidFill>
          </p:grpSpPr>
          <p:sp>
            <p:nvSpPr>
              <p:cNvPr id="228" name="Trapezoid 227">
                <a:extLst>
                  <a:ext uri="{FF2B5EF4-FFF2-40B4-BE49-F238E27FC236}">
                    <a16:creationId xmlns:a16="http://schemas.microsoft.com/office/drawing/2014/main" id="{1FC99CE9-3E7F-454D-A6EC-767976D2B58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9" name="Trapezoid 228">
                <a:extLst>
                  <a:ext uri="{FF2B5EF4-FFF2-40B4-BE49-F238E27FC236}">
                    <a16:creationId xmlns:a16="http://schemas.microsoft.com/office/drawing/2014/main" id="{9082AC46-FF41-48D0-9699-FCE371890F2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2" name="Group 211">
              <a:extLst>
                <a:ext uri="{FF2B5EF4-FFF2-40B4-BE49-F238E27FC236}">
                  <a16:creationId xmlns:a16="http://schemas.microsoft.com/office/drawing/2014/main" id="{8E7551BA-1D05-4997-B9AA-B8910209EF46}"/>
                </a:ext>
              </a:extLst>
            </p:cNvPr>
            <p:cNvGrpSpPr/>
            <p:nvPr/>
          </p:nvGrpSpPr>
          <p:grpSpPr>
            <a:xfrm rot="5400000">
              <a:off x="1534076" y="2855912"/>
              <a:ext cx="175040" cy="2041126"/>
              <a:chOff x="8229799" y="2768458"/>
              <a:chExt cx="175040" cy="2041126"/>
            </a:xfrm>
            <a:solidFill>
              <a:srgbClr val="00254C"/>
            </a:solidFill>
          </p:grpSpPr>
          <p:sp>
            <p:nvSpPr>
              <p:cNvPr id="226" name="Trapezoid 225">
                <a:extLst>
                  <a:ext uri="{FF2B5EF4-FFF2-40B4-BE49-F238E27FC236}">
                    <a16:creationId xmlns:a16="http://schemas.microsoft.com/office/drawing/2014/main" id="{3CBC6AB7-E860-451A-A5B3-3E3F2616745E}"/>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7" name="Trapezoid 226">
                <a:extLst>
                  <a:ext uri="{FF2B5EF4-FFF2-40B4-BE49-F238E27FC236}">
                    <a16:creationId xmlns:a16="http://schemas.microsoft.com/office/drawing/2014/main" id="{82B44A42-7F23-4BF9-BD5C-6C9CD70925B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3" name="Group 212">
              <a:extLst>
                <a:ext uri="{FF2B5EF4-FFF2-40B4-BE49-F238E27FC236}">
                  <a16:creationId xmlns:a16="http://schemas.microsoft.com/office/drawing/2014/main" id="{7616840E-4CB8-42B9-95DA-C617F404C528}"/>
                </a:ext>
              </a:extLst>
            </p:cNvPr>
            <p:cNvGrpSpPr/>
            <p:nvPr/>
          </p:nvGrpSpPr>
          <p:grpSpPr>
            <a:xfrm rot="1800000">
              <a:off x="1534077" y="2855912"/>
              <a:ext cx="175040" cy="2041126"/>
              <a:chOff x="8229799" y="2768458"/>
              <a:chExt cx="175040" cy="2041126"/>
            </a:xfrm>
            <a:solidFill>
              <a:srgbClr val="00254C"/>
            </a:solidFill>
          </p:grpSpPr>
          <p:sp>
            <p:nvSpPr>
              <p:cNvPr id="224" name="Trapezoid 223">
                <a:extLst>
                  <a:ext uri="{FF2B5EF4-FFF2-40B4-BE49-F238E27FC236}">
                    <a16:creationId xmlns:a16="http://schemas.microsoft.com/office/drawing/2014/main" id="{91B9F5B1-D96A-465A-8C70-D4C69BF77D7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5" name="Trapezoid 224">
                <a:extLst>
                  <a:ext uri="{FF2B5EF4-FFF2-40B4-BE49-F238E27FC236}">
                    <a16:creationId xmlns:a16="http://schemas.microsoft.com/office/drawing/2014/main" id="{F46BA6AA-F43E-4285-97A4-E9F61A52CA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4" name="Group 213">
              <a:extLst>
                <a:ext uri="{FF2B5EF4-FFF2-40B4-BE49-F238E27FC236}">
                  <a16:creationId xmlns:a16="http://schemas.microsoft.com/office/drawing/2014/main" id="{3D4437D7-8847-4A86-A548-C94E45809C5E}"/>
                </a:ext>
              </a:extLst>
            </p:cNvPr>
            <p:cNvGrpSpPr/>
            <p:nvPr/>
          </p:nvGrpSpPr>
          <p:grpSpPr>
            <a:xfrm rot="3600000">
              <a:off x="1534076" y="2855913"/>
              <a:ext cx="175040" cy="2041126"/>
              <a:chOff x="8229799" y="2768458"/>
              <a:chExt cx="175040" cy="2041126"/>
            </a:xfrm>
            <a:solidFill>
              <a:srgbClr val="00254C"/>
            </a:solidFill>
          </p:grpSpPr>
          <p:sp>
            <p:nvSpPr>
              <p:cNvPr id="222" name="Trapezoid 221">
                <a:extLst>
                  <a:ext uri="{FF2B5EF4-FFF2-40B4-BE49-F238E27FC236}">
                    <a16:creationId xmlns:a16="http://schemas.microsoft.com/office/drawing/2014/main" id="{8868CE96-08CD-4898-88A6-D5731259C02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3" name="Trapezoid 222">
                <a:extLst>
                  <a:ext uri="{FF2B5EF4-FFF2-40B4-BE49-F238E27FC236}">
                    <a16:creationId xmlns:a16="http://schemas.microsoft.com/office/drawing/2014/main" id="{51702920-CDBF-44D7-8C98-CB010C07159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5" name="Group 214">
              <a:extLst>
                <a:ext uri="{FF2B5EF4-FFF2-40B4-BE49-F238E27FC236}">
                  <a16:creationId xmlns:a16="http://schemas.microsoft.com/office/drawing/2014/main" id="{9E726E68-EA77-4B23-9EFE-7A77EEE51B60}"/>
                </a:ext>
              </a:extLst>
            </p:cNvPr>
            <p:cNvGrpSpPr/>
            <p:nvPr/>
          </p:nvGrpSpPr>
          <p:grpSpPr>
            <a:xfrm rot="7200000">
              <a:off x="1534076" y="2855913"/>
              <a:ext cx="175040" cy="2041126"/>
              <a:chOff x="8229799" y="2768458"/>
              <a:chExt cx="175040" cy="2041126"/>
            </a:xfrm>
            <a:solidFill>
              <a:srgbClr val="00254C"/>
            </a:solidFill>
          </p:grpSpPr>
          <p:sp>
            <p:nvSpPr>
              <p:cNvPr id="220" name="Trapezoid 219">
                <a:extLst>
                  <a:ext uri="{FF2B5EF4-FFF2-40B4-BE49-F238E27FC236}">
                    <a16:creationId xmlns:a16="http://schemas.microsoft.com/office/drawing/2014/main" id="{3599D55E-3831-4859-BAFF-868F2BC029C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1" name="Trapezoid 220">
                <a:extLst>
                  <a:ext uri="{FF2B5EF4-FFF2-40B4-BE49-F238E27FC236}">
                    <a16:creationId xmlns:a16="http://schemas.microsoft.com/office/drawing/2014/main" id="{47DDC634-46E1-4D14-A241-2B0D3E02ADEA}"/>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6" name="Group 215">
              <a:extLst>
                <a:ext uri="{FF2B5EF4-FFF2-40B4-BE49-F238E27FC236}">
                  <a16:creationId xmlns:a16="http://schemas.microsoft.com/office/drawing/2014/main" id="{BC32F345-79D6-4B0C-8AA7-B79544576FB8}"/>
                </a:ext>
              </a:extLst>
            </p:cNvPr>
            <p:cNvGrpSpPr/>
            <p:nvPr/>
          </p:nvGrpSpPr>
          <p:grpSpPr>
            <a:xfrm rot="9000000">
              <a:off x="1534077" y="2855912"/>
              <a:ext cx="175040" cy="2041126"/>
              <a:chOff x="8229799" y="2768458"/>
              <a:chExt cx="175040" cy="2041126"/>
            </a:xfrm>
            <a:solidFill>
              <a:srgbClr val="00254C"/>
            </a:solidFill>
          </p:grpSpPr>
          <p:sp>
            <p:nvSpPr>
              <p:cNvPr id="218" name="Trapezoid 217">
                <a:extLst>
                  <a:ext uri="{FF2B5EF4-FFF2-40B4-BE49-F238E27FC236}">
                    <a16:creationId xmlns:a16="http://schemas.microsoft.com/office/drawing/2014/main" id="{4426F5B0-6EF1-4AFD-82F7-841E07CF29F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19" name="Trapezoid 218">
                <a:extLst>
                  <a:ext uri="{FF2B5EF4-FFF2-40B4-BE49-F238E27FC236}">
                    <a16:creationId xmlns:a16="http://schemas.microsoft.com/office/drawing/2014/main" id="{5E91476C-D3E1-4592-9AF2-63D20919182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17" name="Oval 216">
              <a:extLst>
                <a:ext uri="{FF2B5EF4-FFF2-40B4-BE49-F238E27FC236}">
                  <a16:creationId xmlns:a16="http://schemas.microsoft.com/office/drawing/2014/main" id="{9AF38D8F-A717-4C0B-B32E-DB4B315117A8}"/>
                </a:ext>
              </a:extLst>
            </p:cNvPr>
            <p:cNvSpPr>
              <a:spLocks noChangeAspect="1"/>
            </p:cNvSpPr>
            <p:nvPr/>
          </p:nvSpPr>
          <p:spPr>
            <a:xfrm>
              <a:off x="915182" y="3175845"/>
              <a:ext cx="1408186" cy="1408186"/>
            </a:xfrm>
            <a:prstGeom prst="ellipse">
              <a:avLst/>
            </a:prstGeom>
            <a:solidFill>
              <a:srgbClr val="FFFFFF"/>
            </a:solidFill>
            <a:ln w="76200" cap="flat" cmpd="sng" algn="ctr">
              <a:solidFill>
                <a:srgbClr val="00254C">
                  <a:lumMod val="75000"/>
                  <a:lumOff val="2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254C"/>
                </a:solidFill>
                <a:effectLst/>
                <a:uLnTx/>
                <a:uFillTx/>
                <a:latin typeface="Arial"/>
                <a:ea typeface="Arial Unicode MS"/>
                <a:cs typeface="Arial Unicode MS"/>
              </a:endParaRPr>
            </a:p>
          </p:txBody>
        </p:sp>
      </p:grpSp>
      <p:grpSp>
        <p:nvGrpSpPr>
          <p:cNvPr id="230" name="Group 229">
            <a:extLst>
              <a:ext uri="{FF2B5EF4-FFF2-40B4-BE49-F238E27FC236}">
                <a16:creationId xmlns:a16="http://schemas.microsoft.com/office/drawing/2014/main" id="{3A2446FB-B143-44CD-B59C-6F04C8CCD3BF}"/>
              </a:ext>
            </a:extLst>
          </p:cNvPr>
          <p:cNvGrpSpPr/>
          <p:nvPr/>
        </p:nvGrpSpPr>
        <p:grpSpPr>
          <a:xfrm>
            <a:off x="4016597" y="3290490"/>
            <a:ext cx="1658415" cy="1658415"/>
            <a:chOff x="2955023" y="2855911"/>
            <a:chExt cx="2041126" cy="2041126"/>
          </a:xfrm>
        </p:grpSpPr>
        <p:sp>
          <p:nvSpPr>
            <p:cNvPr id="231" name="Circle: Hollow 322">
              <a:extLst>
                <a:ext uri="{FF2B5EF4-FFF2-40B4-BE49-F238E27FC236}">
                  <a16:creationId xmlns:a16="http://schemas.microsoft.com/office/drawing/2014/main" id="{E43ACC71-FAE3-4901-85E2-511C25446312}"/>
                </a:ext>
              </a:extLst>
            </p:cNvPr>
            <p:cNvSpPr>
              <a:spLocks noChangeAspect="1"/>
            </p:cNvSpPr>
            <p:nvPr/>
          </p:nvSpPr>
          <p:spPr>
            <a:xfrm>
              <a:off x="3117231" y="3018119"/>
              <a:ext cx="1716710" cy="1716710"/>
            </a:xfrm>
            <a:prstGeom prst="donut">
              <a:avLst>
                <a:gd name="adj" fmla="val 7139"/>
              </a:avLst>
            </a:prstGeom>
            <a:solidFill>
              <a:srgbClr val="00529B"/>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32" name="Group 231">
              <a:extLst>
                <a:ext uri="{FF2B5EF4-FFF2-40B4-BE49-F238E27FC236}">
                  <a16:creationId xmlns:a16="http://schemas.microsoft.com/office/drawing/2014/main" id="{500F63EA-84CC-4F49-9E44-B06E40C0FB62}"/>
                </a:ext>
              </a:extLst>
            </p:cNvPr>
            <p:cNvGrpSpPr/>
            <p:nvPr/>
          </p:nvGrpSpPr>
          <p:grpSpPr>
            <a:xfrm>
              <a:off x="3888066" y="2855911"/>
              <a:ext cx="175040" cy="2041126"/>
              <a:chOff x="8229799" y="2768458"/>
              <a:chExt cx="175040" cy="2041126"/>
            </a:xfrm>
            <a:solidFill>
              <a:srgbClr val="00529B"/>
            </a:solidFill>
          </p:grpSpPr>
          <p:sp>
            <p:nvSpPr>
              <p:cNvPr id="249" name="Trapezoid 248">
                <a:extLst>
                  <a:ext uri="{FF2B5EF4-FFF2-40B4-BE49-F238E27FC236}">
                    <a16:creationId xmlns:a16="http://schemas.microsoft.com/office/drawing/2014/main" id="{1BBC0C25-3A97-43E2-BE25-C667BC5B938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50" name="Trapezoid 249">
                <a:extLst>
                  <a:ext uri="{FF2B5EF4-FFF2-40B4-BE49-F238E27FC236}">
                    <a16:creationId xmlns:a16="http://schemas.microsoft.com/office/drawing/2014/main" id="{CE8C03ED-A662-4262-AFEB-C1BCFA58C00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3" name="Group 232">
              <a:extLst>
                <a:ext uri="{FF2B5EF4-FFF2-40B4-BE49-F238E27FC236}">
                  <a16:creationId xmlns:a16="http://schemas.microsoft.com/office/drawing/2014/main" id="{02DD4821-9EC6-4C48-8991-F82D301D3D6C}"/>
                </a:ext>
              </a:extLst>
            </p:cNvPr>
            <p:cNvGrpSpPr/>
            <p:nvPr/>
          </p:nvGrpSpPr>
          <p:grpSpPr>
            <a:xfrm rot="5400000">
              <a:off x="3888066" y="2855911"/>
              <a:ext cx="175040" cy="2041126"/>
              <a:chOff x="8229799" y="2768458"/>
              <a:chExt cx="175040" cy="2041126"/>
            </a:xfrm>
            <a:solidFill>
              <a:srgbClr val="00529B"/>
            </a:solidFill>
          </p:grpSpPr>
          <p:sp>
            <p:nvSpPr>
              <p:cNvPr id="247" name="Trapezoid 246">
                <a:extLst>
                  <a:ext uri="{FF2B5EF4-FFF2-40B4-BE49-F238E27FC236}">
                    <a16:creationId xmlns:a16="http://schemas.microsoft.com/office/drawing/2014/main" id="{B276D4BD-AA9A-4CB3-BA95-0B88FFE2374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8" name="Trapezoid 247">
                <a:extLst>
                  <a:ext uri="{FF2B5EF4-FFF2-40B4-BE49-F238E27FC236}">
                    <a16:creationId xmlns:a16="http://schemas.microsoft.com/office/drawing/2014/main" id="{F1890FF8-9DEE-478F-9A6F-35E80668E289}"/>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4" name="Group 233">
              <a:extLst>
                <a:ext uri="{FF2B5EF4-FFF2-40B4-BE49-F238E27FC236}">
                  <a16:creationId xmlns:a16="http://schemas.microsoft.com/office/drawing/2014/main" id="{14CE34E0-89BE-480D-AC51-4E8E49C40491}"/>
                </a:ext>
              </a:extLst>
            </p:cNvPr>
            <p:cNvGrpSpPr/>
            <p:nvPr/>
          </p:nvGrpSpPr>
          <p:grpSpPr>
            <a:xfrm rot="1800000">
              <a:off x="3888067" y="2855911"/>
              <a:ext cx="175040" cy="2041126"/>
              <a:chOff x="8229799" y="2768458"/>
              <a:chExt cx="175040" cy="2041126"/>
            </a:xfrm>
            <a:solidFill>
              <a:srgbClr val="00529B"/>
            </a:solidFill>
          </p:grpSpPr>
          <p:sp>
            <p:nvSpPr>
              <p:cNvPr id="245" name="Trapezoid 244">
                <a:extLst>
                  <a:ext uri="{FF2B5EF4-FFF2-40B4-BE49-F238E27FC236}">
                    <a16:creationId xmlns:a16="http://schemas.microsoft.com/office/drawing/2014/main" id="{04A1AEB4-BCA5-45AD-A899-A458323FD35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6" name="Trapezoid 245">
                <a:extLst>
                  <a:ext uri="{FF2B5EF4-FFF2-40B4-BE49-F238E27FC236}">
                    <a16:creationId xmlns:a16="http://schemas.microsoft.com/office/drawing/2014/main" id="{C71157F0-88C6-4A4E-9757-739346DD5B4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5" name="Group 234">
              <a:extLst>
                <a:ext uri="{FF2B5EF4-FFF2-40B4-BE49-F238E27FC236}">
                  <a16:creationId xmlns:a16="http://schemas.microsoft.com/office/drawing/2014/main" id="{802A2F80-3F2D-43C8-8B24-ECBF301651B8}"/>
                </a:ext>
              </a:extLst>
            </p:cNvPr>
            <p:cNvGrpSpPr/>
            <p:nvPr/>
          </p:nvGrpSpPr>
          <p:grpSpPr>
            <a:xfrm rot="3600000">
              <a:off x="3888066" y="2855912"/>
              <a:ext cx="175040" cy="2041126"/>
              <a:chOff x="8229799" y="2768458"/>
              <a:chExt cx="175040" cy="2041126"/>
            </a:xfrm>
            <a:solidFill>
              <a:srgbClr val="00529B"/>
            </a:solidFill>
          </p:grpSpPr>
          <p:sp>
            <p:nvSpPr>
              <p:cNvPr id="243" name="Trapezoid 242">
                <a:extLst>
                  <a:ext uri="{FF2B5EF4-FFF2-40B4-BE49-F238E27FC236}">
                    <a16:creationId xmlns:a16="http://schemas.microsoft.com/office/drawing/2014/main" id="{1E506D08-A5AD-4CCA-A27C-DB25771BC1E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4" name="Trapezoid 243">
                <a:extLst>
                  <a:ext uri="{FF2B5EF4-FFF2-40B4-BE49-F238E27FC236}">
                    <a16:creationId xmlns:a16="http://schemas.microsoft.com/office/drawing/2014/main" id="{D8343261-DCA5-4E46-BD7D-B175F6F4CF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6" name="Group 235">
              <a:extLst>
                <a:ext uri="{FF2B5EF4-FFF2-40B4-BE49-F238E27FC236}">
                  <a16:creationId xmlns:a16="http://schemas.microsoft.com/office/drawing/2014/main" id="{D148AE05-0E17-4FA1-82BE-67B00486F837}"/>
                </a:ext>
              </a:extLst>
            </p:cNvPr>
            <p:cNvGrpSpPr/>
            <p:nvPr/>
          </p:nvGrpSpPr>
          <p:grpSpPr>
            <a:xfrm rot="7200000">
              <a:off x="3888066" y="2855912"/>
              <a:ext cx="175040" cy="2041126"/>
              <a:chOff x="8229799" y="2768458"/>
              <a:chExt cx="175040" cy="2041126"/>
            </a:xfrm>
            <a:solidFill>
              <a:srgbClr val="00529B"/>
            </a:solidFill>
          </p:grpSpPr>
          <p:sp>
            <p:nvSpPr>
              <p:cNvPr id="241" name="Trapezoid 240">
                <a:extLst>
                  <a:ext uri="{FF2B5EF4-FFF2-40B4-BE49-F238E27FC236}">
                    <a16:creationId xmlns:a16="http://schemas.microsoft.com/office/drawing/2014/main" id="{AB7F23EF-7BE3-4FD9-BEE7-EC95DF4BF33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2" name="Trapezoid 241">
                <a:extLst>
                  <a:ext uri="{FF2B5EF4-FFF2-40B4-BE49-F238E27FC236}">
                    <a16:creationId xmlns:a16="http://schemas.microsoft.com/office/drawing/2014/main" id="{9A877E46-3549-46D2-A892-B4E0B9013382}"/>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7" name="Group 236">
              <a:extLst>
                <a:ext uri="{FF2B5EF4-FFF2-40B4-BE49-F238E27FC236}">
                  <a16:creationId xmlns:a16="http://schemas.microsoft.com/office/drawing/2014/main" id="{B789597B-BD34-4D5B-8749-EDAE2047386C}"/>
                </a:ext>
              </a:extLst>
            </p:cNvPr>
            <p:cNvGrpSpPr/>
            <p:nvPr/>
          </p:nvGrpSpPr>
          <p:grpSpPr>
            <a:xfrm rot="9000000">
              <a:off x="3888067" y="2855911"/>
              <a:ext cx="175040" cy="2041126"/>
              <a:chOff x="8229799" y="2768458"/>
              <a:chExt cx="175040" cy="2041126"/>
            </a:xfrm>
            <a:solidFill>
              <a:srgbClr val="00529B"/>
            </a:solidFill>
          </p:grpSpPr>
          <p:sp>
            <p:nvSpPr>
              <p:cNvPr id="239" name="Trapezoid 238">
                <a:extLst>
                  <a:ext uri="{FF2B5EF4-FFF2-40B4-BE49-F238E27FC236}">
                    <a16:creationId xmlns:a16="http://schemas.microsoft.com/office/drawing/2014/main" id="{4399496A-204F-40A0-A5FF-FD1F5F7159A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0" name="Trapezoid 239">
                <a:extLst>
                  <a:ext uri="{FF2B5EF4-FFF2-40B4-BE49-F238E27FC236}">
                    <a16:creationId xmlns:a16="http://schemas.microsoft.com/office/drawing/2014/main" id="{C3A24BEC-CD56-4B63-B919-9F4AAD51D30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38" name="Oval 237">
              <a:extLst>
                <a:ext uri="{FF2B5EF4-FFF2-40B4-BE49-F238E27FC236}">
                  <a16:creationId xmlns:a16="http://schemas.microsoft.com/office/drawing/2014/main" id="{4466303F-0306-490E-B5FC-E8652B2D2C53}"/>
                </a:ext>
              </a:extLst>
            </p:cNvPr>
            <p:cNvSpPr>
              <a:spLocks noChangeAspect="1"/>
            </p:cNvSpPr>
            <p:nvPr/>
          </p:nvSpPr>
          <p:spPr>
            <a:xfrm>
              <a:off x="3269172" y="3175844"/>
              <a:ext cx="1408186" cy="1408186"/>
            </a:xfrm>
            <a:prstGeom prst="ellipse">
              <a:avLst/>
            </a:prstGeom>
            <a:solidFill>
              <a:srgbClr val="FFFFFF"/>
            </a:solidFill>
            <a:ln w="76200" cap="flat" cmpd="sng" algn="ctr">
              <a:solidFill>
                <a:srgbClr val="00529B">
                  <a:lumMod val="50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529B"/>
                </a:solidFill>
                <a:effectLst/>
                <a:uLnTx/>
                <a:uFillTx/>
                <a:latin typeface="Arial"/>
                <a:ea typeface="Arial Unicode MS"/>
                <a:cs typeface="Arial Unicode MS"/>
              </a:endParaRPr>
            </a:p>
          </p:txBody>
        </p:sp>
      </p:grpSp>
      <p:grpSp>
        <p:nvGrpSpPr>
          <p:cNvPr id="251" name="Group 250">
            <a:extLst>
              <a:ext uri="{FF2B5EF4-FFF2-40B4-BE49-F238E27FC236}">
                <a16:creationId xmlns:a16="http://schemas.microsoft.com/office/drawing/2014/main" id="{C9C4B35E-1F31-4F00-A7C5-FB9A33786BF9}"/>
              </a:ext>
            </a:extLst>
          </p:cNvPr>
          <p:cNvGrpSpPr/>
          <p:nvPr/>
        </p:nvGrpSpPr>
        <p:grpSpPr>
          <a:xfrm>
            <a:off x="5266793" y="3290490"/>
            <a:ext cx="1658415" cy="1658415"/>
            <a:chOff x="5517577" y="2855912"/>
            <a:chExt cx="2041126" cy="2041126"/>
          </a:xfrm>
        </p:grpSpPr>
        <p:sp>
          <p:nvSpPr>
            <p:cNvPr id="252" name="Circle: Hollow 342">
              <a:extLst>
                <a:ext uri="{FF2B5EF4-FFF2-40B4-BE49-F238E27FC236}">
                  <a16:creationId xmlns:a16="http://schemas.microsoft.com/office/drawing/2014/main" id="{FB482B73-6B66-4808-88F4-8F5C4DA765EA}"/>
                </a:ext>
              </a:extLst>
            </p:cNvPr>
            <p:cNvSpPr>
              <a:spLocks noChangeAspect="1"/>
            </p:cNvSpPr>
            <p:nvPr/>
          </p:nvSpPr>
          <p:spPr>
            <a:xfrm>
              <a:off x="5679785" y="3018120"/>
              <a:ext cx="1716710" cy="1716710"/>
            </a:xfrm>
            <a:prstGeom prst="donut">
              <a:avLst>
                <a:gd name="adj" fmla="val 7139"/>
              </a:avLst>
            </a:prstGeom>
            <a:solidFill>
              <a:srgbClr val="00A5E3"/>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53" name="Group 252">
              <a:extLst>
                <a:ext uri="{FF2B5EF4-FFF2-40B4-BE49-F238E27FC236}">
                  <a16:creationId xmlns:a16="http://schemas.microsoft.com/office/drawing/2014/main" id="{96483F95-D137-4BC0-B257-B8F15EC3DCB3}"/>
                </a:ext>
              </a:extLst>
            </p:cNvPr>
            <p:cNvGrpSpPr/>
            <p:nvPr/>
          </p:nvGrpSpPr>
          <p:grpSpPr>
            <a:xfrm>
              <a:off x="6450620" y="2855912"/>
              <a:ext cx="175040" cy="2041126"/>
              <a:chOff x="8229799" y="2768458"/>
              <a:chExt cx="175040" cy="2041126"/>
            </a:xfrm>
            <a:solidFill>
              <a:srgbClr val="00A5E3"/>
            </a:solidFill>
          </p:grpSpPr>
          <p:sp>
            <p:nvSpPr>
              <p:cNvPr id="270" name="Trapezoid 269">
                <a:extLst>
                  <a:ext uri="{FF2B5EF4-FFF2-40B4-BE49-F238E27FC236}">
                    <a16:creationId xmlns:a16="http://schemas.microsoft.com/office/drawing/2014/main" id="{F289C1F2-885C-4BFA-8D06-84880AF01D28}"/>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71" name="Trapezoid 270">
                <a:extLst>
                  <a:ext uri="{FF2B5EF4-FFF2-40B4-BE49-F238E27FC236}">
                    <a16:creationId xmlns:a16="http://schemas.microsoft.com/office/drawing/2014/main" id="{24CF4381-0AAD-45D7-8BFE-7FF7BAD3F81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4" name="Group 253">
              <a:extLst>
                <a:ext uri="{FF2B5EF4-FFF2-40B4-BE49-F238E27FC236}">
                  <a16:creationId xmlns:a16="http://schemas.microsoft.com/office/drawing/2014/main" id="{F859D88C-EAB4-48D0-A6B7-72FB77EA6F39}"/>
                </a:ext>
              </a:extLst>
            </p:cNvPr>
            <p:cNvGrpSpPr/>
            <p:nvPr/>
          </p:nvGrpSpPr>
          <p:grpSpPr>
            <a:xfrm rot="5400000">
              <a:off x="6450620" y="2855912"/>
              <a:ext cx="175040" cy="2041126"/>
              <a:chOff x="8229799" y="2768458"/>
              <a:chExt cx="175040" cy="2041126"/>
            </a:xfrm>
            <a:solidFill>
              <a:srgbClr val="00A5E3"/>
            </a:solidFill>
          </p:grpSpPr>
          <p:sp>
            <p:nvSpPr>
              <p:cNvPr id="268" name="Trapezoid 267">
                <a:extLst>
                  <a:ext uri="{FF2B5EF4-FFF2-40B4-BE49-F238E27FC236}">
                    <a16:creationId xmlns:a16="http://schemas.microsoft.com/office/drawing/2014/main" id="{35FA2597-7D7A-4D5B-B4E3-B1D056A2606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9" name="Trapezoid 268">
                <a:extLst>
                  <a:ext uri="{FF2B5EF4-FFF2-40B4-BE49-F238E27FC236}">
                    <a16:creationId xmlns:a16="http://schemas.microsoft.com/office/drawing/2014/main" id="{1826CF79-4A0C-4480-895C-FF04C75A54B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5" name="Group 254">
              <a:extLst>
                <a:ext uri="{FF2B5EF4-FFF2-40B4-BE49-F238E27FC236}">
                  <a16:creationId xmlns:a16="http://schemas.microsoft.com/office/drawing/2014/main" id="{B9B5636F-1815-4546-AC95-9F64FFF3C66C}"/>
                </a:ext>
              </a:extLst>
            </p:cNvPr>
            <p:cNvGrpSpPr/>
            <p:nvPr/>
          </p:nvGrpSpPr>
          <p:grpSpPr>
            <a:xfrm rot="1800000">
              <a:off x="6450621" y="2855912"/>
              <a:ext cx="175040" cy="2041126"/>
              <a:chOff x="8229799" y="2768458"/>
              <a:chExt cx="175040" cy="2041126"/>
            </a:xfrm>
            <a:solidFill>
              <a:srgbClr val="00A5E3"/>
            </a:solidFill>
          </p:grpSpPr>
          <p:sp>
            <p:nvSpPr>
              <p:cNvPr id="266" name="Trapezoid 265">
                <a:extLst>
                  <a:ext uri="{FF2B5EF4-FFF2-40B4-BE49-F238E27FC236}">
                    <a16:creationId xmlns:a16="http://schemas.microsoft.com/office/drawing/2014/main" id="{EE8AE4AD-A223-4E1B-A09F-333F7DC791A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7" name="Trapezoid 266">
                <a:extLst>
                  <a:ext uri="{FF2B5EF4-FFF2-40B4-BE49-F238E27FC236}">
                    <a16:creationId xmlns:a16="http://schemas.microsoft.com/office/drawing/2014/main" id="{FB2FAF06-4A98-4560-A80C-CDEB6E42100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6" name="Group 255">
              <a:extLst>
                <a:ext uri="{FF2B5EF4-FFF2-40B4-BE49-F238E27FC236}">
                  <a16:creationId xmlns:a16="http://schemas.microsoft.com/office/drawing/2014/main" id="{45F260AB-68AD-4E95-AD44-D0D4AC8FE16D}"/>
                </a:ext>
              </a:extLst>
            </p:cNvPr>
            <p:cNvGrpSpPr/>
            <p:nvPr/>
          </p:nvGrpSpPr>
          <p:grpSpPr>
            <a:xfrm rot="3600000">
              <a:off x="6450620" y="2855913"/>
              <a:ext cx="175040" cy="2041126"/>
              <a:chOff x="8229799" y="2768458"/>
              <a:chExt cx="175040" cy="2041126"/>
            </a:xfrm>
            <a:solidFill>
              <a:srgbClr val="00A5E3"/>
            </a:solidFill>
          </p:grpSpPr>
          <p:sp>
            <p:nvSpPr>
              <p:cNvPr id="264" name="Trapezoid 263">
                <a:extLst>
                  <a:ext uri="{FF2B5EF4-FFF2-40B4-BE49-F238E27FC236}">
                    <a16:creationId xmlns:a16="http://schemas.microsoft.com/office/drawing/2014/main" id="{2F576CE6-C7F8-455B-ADE2-C36E730BB66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5" name="Trapezoid 264">
                <a:extLst>
                  <a:ext uri="{FF2B5EF4-FFF2-40B4-BE49-F238E27FC236}">
                    <a16:creationId xmlns:a16="http://schemas.microsoft.com/office/drawing/2014/main" id="{1C5068E5-998E-425C-973B-7E282C81BA13}"/>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7" name="Group 256">
              <a:extLst>
                <a:ext uri="{FF2B5EF4-FFF2-40B4-BE49-F238E27FC236}">
                  <a16:creationId xmlns:a16="http://schemas.microsoft.com/office/drawing/2014/main" id="{F4354415-D96C-4406-8E32-E4B4B003F066}"/>
                </a:ext>
              </a:extLst>
            </p:cNvPr>
            <p:cNvGrpSpPr/>
            <p:nvPr/>
          </p:nvGrpSpPr>
          <p:grpSpPr>
            <a:xfrm rot="7200000">
              <a:off x="6450620" y="2855913"/>
              <a:ext cx="175040" cy="2041126"/>
              <a:chOff x="8229799" y="2768458"/>
              <a:chExt cx="175040" cy="2041126"/>
            </a:xfrm>
            <a:solidFill>
              <a:srgbClr val="00A5E3"/>
            </a:solidFill>
          </p:grpSpPr>
          <p:sp>
            <p:nvSpPr>
              <p:cNvPr id="262" name="Trapezoid 261">
                <a:extLst>
                  <a:ext uri="{FF2B5EF4-FFF2-40B4-BE49-F238E27FC236}">
                    <a16:creationId xmlns:a16="http://schemas.microsoft.com/office/drawing/2014/main" id="{D21F1152-91F1-4881-B865-6A9B402BA1E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3" name="Trapezoid 262">
                <a:extLst>
                  <a:ext uri="{FF2B5EF4-FFF2-40B4-BE49-F238E27FC236}">
                    <a16:creationId xmlns:a16="http://schemas.microsoft.com/office/drawing/2014/main" id="{EC74F657-6051-4C4E-84E6-7721738D9F5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8" name="Group 257">
              <a:extLst>
                <a:ext uri="{FF2B5EF4-FFF2-40B4-BE49-F238E27FC236}">
                  <a16:creationId xmlns:a16="http://schemas.microsoft.com/office/drawing/2014/main" id="{C2E80D97-7560-4B52-BF31-0FB765394F5D}"/>
                </a:ext>
              </a:extLst>
            </p:cNvPr>
            <p:cNvGrpSpPr/>
            <p:nvPr/>
          </p:nvGrpSpPr>
          <p:grpSpPr>
            <a:xfrm rot="9000000">
              <a:off x="6450621" y="2855912"/>
              <a:ext cx="175040" cy="2041126"/>
              <a:chOff x="8229799" y="2768458"/>
              <a:chExt cx="175040" cy="2041126"/>
            </a:xfrm>
            <a:solidFill>
              <a:srgbClr val="00A5E3"/>
            </a:solidFill>
          </p:grpSpPr>
          <p:sp>
            <p:nvSpPr>
              <p:cNvPr id="260" name="Trapezoid 259">
                <a:extLst>
                  <a:ext uri="{FF2B5EF4-FFF2-40B4-BE49-F238E27FC236}">
                    <a16:creationId xmlns:a16="http://schemas.microsoft.com/office/drawing/2014/main" id="{AECF15D1-BC3B-4ED7-8F4B-56B030AC0FFB}"/>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1" name="Trapezoid 260">
                <a:extLst>
                  <a:ext uri="{FF2B5EF4-FFF2-40B4-BE49-F238E27FC236}">
                    <a16:creationId xmlns:a16="http://schemas.microsoft.com/office/drawing/2014/main" id="{EFD49C64-45C5-4D4B-8280-09CF817D077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59" name="Oval 258">
              <a:extLst>
                <a:ext uri="{FF2B5EF4-FFF2-40B4-BE49-F238E27FC236}">
                  <a16:creationId xmlns:a16="http://schemas.microsoft.com/office/drawing/2014/main" id="{6A27A884-8FBA-4BD2-96F5-DDFF3F2A6F50}"/>
                </a:ext>
              </a:extLst>
            </p:cNvPr>
            <p:cNvSpPr>
              <a:spLocks noChangeAspect="1"/>
            </p:cNvSpPr>
            <p:nvPr/>
          </p:nvSpPr>
          <p:spPr>
            <a:xfrm>
              <a:off x="5831726" y="3175845"/>
              <a:ext cx="1408186" cy="1408186"/>
            </a:xfrm>
            <a:prstGeom prst="ellipse">
              <a:avLst/>
            </a:prstGeom>
            <a:solidFill>
              <a:srgbClr val="FFFFFF"/>
            </a:solidFill>
            <a:ln w="76200" cap="flat" cmpd="sng" algn="ctr">
              <a:solidFill>
                <a:srgbClr val="00A5E3">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A5E3"/>
                </a:solidFill>
                <a:effectLst/>
                <a:uLnTx/>
                <a:uFillTx/>
                <a:latin typeface="Arial"/>
                <a:ea typeface="Arial Unicode MS"/>
                <a:cs typeface="Arial Unicode MS"/>
              </a:endParaRPr>
            </a:p>
          </p:txBody>
        </p:sp>
      </p:grpSp>
      <p:grpSp>
        <p:nvGrpSpPr>
          <p:cNvPr id="272" name="Group 271">
            <a:extLst>
              <a:ext uri="{FF2B5EF4-FFF2-40B4-BE49-F238E27FC236}">
                <a16:creationId xmlns:a16="http://schemas.microsoft.com/office/drawing/2014/main" id="{006E3EF0-D586-47E7-803A-F7A242A4F0A9}"/>
              </a:ext>
            </a:extLst>
          </p:cNvPr>
          <p:cNvGrpSpPr/>
          <p:nvPr/>
        </p:nvGrpSpPr>
        <p:grpSpPr>
          <a:xfrm>
            <a:off x="6516988" y="3290490"/>
            <a:ext cx="1658415" cy="1658415"/>
            <a:chOff x="7964592" y="2855911"/>
            <a:chExt cx="2041126" cy="2041126"/>
          </a:xfrm>
        </p:grpSpPr>
        <p:sp>
          <p:nvSpPr>
            <p:cNvPr id="273" name="Circle: Hollow 362">
              <a:extLst>
                <a:ext uri="{FF2B5EF4-FFF2-40B4-BE49-F238E27FC236}">
                  <a16:creationId xmlns:a16="http://schemas.microsoft.com/office/drawing/2014/main" id="{F1E7AA97-8193-4967-A14B-6D88CFB95D9A}"/>
                </a:ext>
              </a:extLst>
            </p:cNvPr>
            <p:cNvSpPr>
              <a:spLocks noChangeAspect="1"/>
            </p:cNvSpPr>
            <p:nvPr/>
          </p:nvSpPr>
          <p:spPr>
            <a:xfrm>
              <a:off x="8126800" y="3018119"/>
              <a:ext cx="1716710" cy="1716710"/>
            </a:xfrm>
            <a:prstGeom prst="donut">
              <a:avLst>
                <a:gd name="adj" fmla="val 7139"/>
              </a:avLst>
            </a:prstGeom>
            <a:solidFill>
              <a:srgbClr val="66C9EE"/>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74" name="Group 273">
              <a:extLst>
                <a:ext uri="{FF2B5EF4-FFF2-40B4-BE49-F238E27FC236}">
                  <a16:creationId xmlns:a16="http://schemas.microsoft.com/office/drawing/2014/main" id="{7D823496-D29C-480B-A4B8-F65D24B23AA2}"/>
                </a:ext>
              </a:extLst>
            </p:cNvPr>
            <p:cNvGrpSpPr/>
            <p:nvPr/>
          </p:nvGrpSpPr>
          <p:grpSpPr>
            <a:xfrm>
              <a:off x="8897635" y="2855911"/>
              <a:ext cx="175040" cy="2041126"/>
              <a:chOff x="8229799" y="2768458"/>
              <a:chExt cx="175040" cy="2041126"/>
            </a:xfrm>
            <a:solidFill>
              <a:srgbClr val="66C9EE"/>
            </a:solidFill>
          </p:grpSpPr>
          <p:sp>
            <p:nvSpPr>
              <p:cNvPr id="291" name="Trapezoid 290">
                <a:extLst>
                  <a:ext uri="{FF2B5EF4-FFF2-40B4-BE49-F238E27FC236}">
                    <a16:creationId xmlns:a16="http://schemas.microsoft.com/office/drawing/2014/main" id="{23989E1E-2551-4E76-AA05-97834E2E809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2" name="Trapezoid 291">
                <a:extLst>
                  <a:ext uri="{FF2B5EF4-FFF2-40B4-BE49-F238E27FC236}">
                    <a16:creationId xmlns:a16="http://schemas.microsoft.com/office/drawing/2014/main" id="{141F551E-D52B-4D93-9E5A-9607542C36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5" name="Group 274">
              <a:extLst>
                <a:ext uri="{FF2B5EF4-FFF2-40B4-BE49-F238E27FC236}">
                  <a16:creationId xmlns:a16="http://schemas.microsoft.com/office/drawing/2014/main" id="{38D44D16-4026-4D21-9EEB-88ED9F6A563B}"/>
                </a:ext>
              </a:extLst>
            </p:cNvPr>
            <p:cNvGrpSpPr/>
            <p:nvPr/>
          </p:nvGrpSpPr>
          <p:grpSpPr>
            <a:xfrm rot="5400000">
              <a:off x="8897635" y="2855911"/>
              <a:ext cx="175040" cy="2041126"/>
              <a:chOff x="8229799" y="2768458"/>
              <a:chExt cx="175040" cy="2041126"/>
            </a:xfrm>
            <a:solidFill>
              <a:srgbClr val="66C9EE"/>
            </a:solidFill>
          </p:grpSpPr>
          <p:sp>
            <p:nvSpPr>
              <p:cNvPr id="289" name="Trapezoid 288">
                <a:extLst>
                  <a:ext uri="{FF2B5EF4-FFF2-40B4-BE49-F238E27FC236}">
                    <a16:creationId xmlns:a16="http://schemas.microsoft.com/office/drawing/2014/main" id="{D7F08A54-0E98-44A0-8FFB-1E646F17824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0" name="Trapezoid 289">
                <a:extLst>
                  <a:ext uri="{FF2B5EF4-FFF2-40B4-BE49-F238E27FC236}">
                    <a16:creationId xmlns:a16="http://schemas.microsoft.com/office/drawing/2014/main" id="{2A259190-B785-4AE8-890D-32942400AEFF}"/>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6" name="Group 275">
              <a:extLst>
                <a:ext uri="{FF2B5EF4-FFF2-40B4-BE49-F238E27FC236}">
                  <a16:creationId xmlns:a16="http://schemas.microsoft.com/office/drawing/2014/main" id="{70D03D45-4FD9-4747-8ADA-710B505E6CEB}"/>
                </a:ext>
              </a:extLst>
            </p:cNvPr>
            <p:cNvGrpSpPr/>
            <p:nvPr/>
          </p:nvGrpSpPr>
          <p:grpSpPr>
            <a:xfrm rot="1800000">
              <a:off x="8897636" y="2855911"/>
              <a:ext cx="175040" cy="2041126"/>
              <a:chOff x="8229799" y="2768458"/>
              <a:chExt cx="175040" cy="2041126"/>
            </a:xfrm>
            <a:solidFill>
              <a:srgbClr val="66C9EE"/>
            </a:solidFill>
          </p:grpSpPr>
          <p:sp>
            <p:nvSpPr>
              <p:cNvPr id="287" name="Trapezoid 286">
                <a:extLst>
                  <a:ext uri="{FF2B5EF4-FFF2-40B4-BE49-F238E27FC236}">
                    <a16:creationId xmlns:a16="http://schemas.microsoft.com/office/drawing/2014/main" id="{4A1FD89D-58DA-4B99-8E21-DC774C5A85E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8" name="Trapezoid 287">
                <a:extLst>
                  <a:ext uri="{FF2B5EF4-FFF2-40B4-BE49-F238E27FC236}">
                    <a16:creationId xmlns:a16="http://schemas.microsoft.com/office/drawing/2014/main" id="{6A770388-048A-4031-95EA-E99401CBE7C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7" name="Group 276">
              <a:extLst>
                <a:ext uri="{FF2B5EF4-FFF2-40B4-BE49-F238E27FC236}">
                  <a16:creationId xmlns:a16="http://schemas.microsoft.com/office/drawing/2014/main" id="{82D3600F-8F1B-4058-BD1F-D546D1F6DB7F}"/>
                </a:ext>
              </a:extLst>
            </p:cNvPr>
            <p:cNvGrpSpPr/>
            <p:nvPr/>
          </p:nvGrpSpPr>
          <p:grpSpPr>
            <a:xfrm rot="3600000">
              <a:off x="8897635" y="2855912"/>
              <a:ext cx="175040" cy="2041126"/>
              <a:chOff x="8229799" y="2768458"/>
              <a:chExt cx="175040" cy="2041126"/>
            </a:xfrm>
            <a:solidFill>
              <a:srgbClr val="66C9EE"/>
            </a:solidFill>
          </p:grpSpPr>
          <p:sp>
            <p:nvSpPr>
              <p:cNvPr id="285" name="Trapezoid 284">
                <a:extLst>
                  <a:ext uri="{FF2B5EF4-FFF2-40B4-BE49-F238E27FC236}">
                    <a16:creationId xmlns:a16="http://schemas.microsoft.com/office/drawing/2014/main" id="{F7A504F5-0A9C-4F4E-8EDD-18CA3F5EBC4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6" name="Trapezoid 285">
                <a:extLst>
                  <a:ext uri="{FF2B5EF4-FFF2-40B4-BE49-F238E27FC236}">
                    <a16:creationId xmlns:a16="http://schemas.microsoft.com/office/drawing/2014/main" id="{9810034B-6622-44C0-A348-DA791796AC1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8" name="Group 277">
              <a:extLst>
                <a:ext uri="{FF2B5EF4-FFF2-40B4-BE49-F238E27FC236}">
                  <a16:creationId xmlns:a16="http://schemas.microsoft.com/office/drawing/2014/main" id="{80EAE1E0-ABE2-454A-BAE1-6873CECADC8A}"/>
                </a:ext>
              </a:extLst>
            </p:cNvPr>
            <p:cNvGrpSpPr/>
            <p:nvPr/>
          </p:nvGrpSpPr>
          <p:grpSpPr>
            <a:xfrm rot="7200000">
              <a:off x="8897635" y="2855912"/>
              <a:ext cx="175040" cy="2041126"/>
              <a:chOff x="8229799" y="2768458"/>
              <a:chExt cx="175040" cy="2041126"/>
            </a:xfrm>
            <a:solidFill>
              <a:srgbClr val="66C9EE"/>
            </a:solidFill>
          </p:grpSpPr>
          <p:sp>
            <p:nvSpPr>
              <p:cNvPr id="283" name="Trapezoid 282">
                <a:extLst>
                  <a:ext uri="{FF2B5EF4-FFF2-40B4-BE49-F238E27FC236}">
                    <a16:creationId xmlns:a16="http://schemas.microsoft.com/office/drawing/2014/main" id="{C8D6490E-CA8F-4DEE-90D0-65B48B801F71}"/>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4" name="Trapezoid 283">
                <a:extLst>
                  <a:ext uri="{FF2B5EF4-FFF2-40B4-BE49-F238E27FC236}">
                    <a16:creationId xmlns:a16="http://schemas.microsoft.com/office/drawing/2014/main" id="{6BE64EE0-8748-4DA9-B643-ACD2B23450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9" name="Group 278">
              <a:extLst>
                <a:ext uri="{FF2B5EF4-FFF2-40B4-BE49-F238E27FC236}">
                  <a16:creationId xmlns:a16="http://schemas.microsoft.com/office/drawing/2014/main" id="{CD5EC0DD-5261-4298-8FAA-F7FC4B62367E}"/>
                </a:ext>
              </a:extLst>
            </p:cNvPr>
            <p:cNvGrpSpPr/>
            <p:nvPr/>
          </p:nvGrpSpPr>
          <p:grpSpPr>
            <a:xfrm rot="9000000">
              <a:off x="8897636" y="2855911"/>
              <a:ext cx="175040" cy="2041126"/>
              <a:chOff x="8229799" y="2768458"/>
              <a:chExt cx="175040" cy="2041126"/>
            </a:xfrm>
            <a:solidFill>
              <a:srgbClr val="66C9EE"/>
            </a:solidFill>
          </p:grpSpPr>
          <p:sp>
            <p:nvSpPr>
              <p:cNvPr id="281" name="Trapezoid 280">
                <a:extLst>
                  <a:ext uri="{FF2B5EF4-FFF2-40B4-BE49-F238E27FC236}">
                    <a16:creationId xmlns:a16="http://schemas.microsoft.com/office/drawing/2014/main" id="{CE0CA519-B72B-4881-9B44-8DB4382A8563}"/>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2" name="Trapezoid 281">
                <a:extLst>
                  <a:ext uri="{FF2B5EF4-FFF2-40B4-BE49-F238E27FC236}">
                    <a16:creationId xmlns:a16="http://schemas.microsoft.com/office/drawing/2014/main" id="{E7977456-F1DB-4EEB-9079-4585629E4A2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80" name="Oval 279">
              <a:extLst>
                <a:ext uri="{FF2B5EF4-FFF2-40B4-BE49-F238E27FC236}">
                  <a16:creationId xmlns:a16="http://schemas.microsoft.com/office/drawing/2014/main" id="{5FA317CC-2335-4C89-91BB-8DF93E3F920F}"/>
                </a:ext>
              </a:extLst>
            </p:cNvPr>
            <p:cNvSpPr>
              <a:spLocks noChangeAspect="1"/>
            </p:cNvSpPr>
            <p:nvPr/>
          </p:nvSpPr>
          <p:spPr>
            <a:xfrm>
              <a:off x="8278741" y="3175844"/>
              <a:ext cx="1408186" cy="1408186"/>
            </a:xfrm>
            <a:prstGeom prst="ellipse">
              <a:avLst/>
            </a:prstGeom>
            <a:solidFill>
              <a:srgbClr val="FFFFFF"/>
            </a:solidFill>
            <a:ln w="76200" cap="flat" cmpd="sng" algn="ctr">
              <a:solidFill>
                <a:srgbClr val="66C9EE">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66C9EE"/>
                </a:solidFill>
                <a:effectLst/>
                <a:uLnTx/>
                <a:uFillTx/>
                <a:latin typeface="Arial"/>
                <a:ea typeface="Arial Unicode MS"/>
                <a:cs typeface="Arial Unicode MS"/>
              </a:endParaRPr>
            </a:p>
          </p:txBody>
        </p:sp>
      </p:grpSp>
      <p:grpSp>
        <p:nvGrpSpPr>
          <p:cNvPr id="293" name="Group 292">
            <a:extLst>
              <a:ext uri="{FF2B5EF4-FFF2-40B4-BE49-F238E27FC236}">
                <a16:creationId xmlns:a16="http://schemas.microsoft.com/office/drawing/2014/main" id="{FA68F11F-CCB3-4B31-ACCA-CB5AF43D9DAD}"/>
              </a:ext>
            </a:extLst>
          </p:cNvPr>
          <p:cNvGrpSpPr/>
          <p:nvPr/>
        </p:nvGrpSpPr>
        <p:grpSpPr>
          <a:xfrm>
            <a:off x="7767183" y="3290490"/>
            <a:ext cx="1658415" cy="1658415"/>
            <a:chOff x="10100130" y="2614418"/>
            <a:chExt cx="2041126" cy="2041126"/>
          </a:xfrm>
        </p:grpSpPr>
        <p:sp>
          <p:nvSpPr>
            <p:cNvPr id="294" name="Circle: Hollow 382">
              <a:extLst>
                <a:ext uri="{FF2B5EF4-FFF2-40B4-BE49-F238E27FC236}">
                  <a16:creationId xmlns:a16="http://schemas.microsoft.com/office/drawing/2014/main" id="{45A4A52F-EF09-4BAD-9AD4-F8BD28730A22}"/>
                </a:ext>
              </a:extLst>
            </p:cNvPr>
            <p:cNvSpPr>
              <a:spLocks noChangeAspect="1"/>
            </p:cNvSpPr>
            <p:nvPr/>
          </p:nvSpPr>
          <p:spPr>
            <a:xfrm>
              <a:off x="10262338" y="2776626"/>
              <a:ext cx="1716710" cy="1716710"/>
            </a:xfrm>
            <a:prstGeom prst="donut">
              <a:avLst>
                <a:gd name="adj" fmla="val 7139"/>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95" name="Group 294">
              <a:extLst>
                <a:ext uri="{FF2B5EF4-FFF2-40B4-BE49-F238E27FC236}">
                  <a16:creationId xmlns:a16="http://schemas.microsoft.com/office/drawing/2014/main" id="{A9520E0D-1BB2-4AEC-B689-E9950405D982}"/>
                </a:ext>
              </a:extLst>
            </p:cNvPr>
            <p:cNvGrpSpPr/>
            <p:nvPr/>
          </p:nvGrpSpPr>
          <p:grpSpPr>
            <a:xfrm>
              <a:off x="11033173" y="2614418"/>
              <a:ext cx="175040" cy="2041126"/>
              <a:chOff x="8229799" y="2768458"/>
              <a:chExt cx="175040" cy="2041126"/>
            </a:xfrm>
            <a:solidFill>
              <a:srgbClr val="B2E0F7"/>
            </a:solidFill>
          </p:grpSpPr>
          <p:sp>
            <p:nvSpPr>
              <p:cNvPr id="312" name="Trapezoid 311">
                <a:extLst>
                  <a:ext uri="{FF2B5EF4-FFF2-40B4-BE49-F238E27FC236}">
                    <a16:creationId xmlns:a16="http://schemas.microsoft.com/office/drawing/2014/main" id="{76B1FCBC-7B0A-4FE3-BF8C-45182899B154}"/>
                  </a:ext>
                </a:extLst>
              </p:cNvPr>
              <p:cNvSpPr/>
              <p:nvPr/>
            </p:nvSpPr>
            <p:spPr>
              <a:xfrm>
                <a:off x="8229799" y="2768458"/>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3" name="Trapezoid 312">
                <a:extLst>
                  <a:ext uri="{FF2B5EF4-FFF2-40B4-BE49-F238E27FC236}">
                    <a16:creationId xmlns:a16="http://schemas.microsoft.com/office/drawing/2014/main" id="{F69E0DE3-4F39-4A44-8F38-14C4EBBB7C32}"/>
                  </a:ext>
                </a:extLst>
              </p:cNvPr>
              <p:cNvSpPr/>
              <p:nvPr/>
            </p:nvSpPr>
            <p:spPr>
              <a:xfrm rot="10800000">
                <a:off x="8229799" y="4634676"/>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96" name="Group 295">
              <a:extLst>
                <a:ext uri="{FF2B5EF4-FFF2-40B4-BE49-F238E27FC236}">
                  <a16:creationId xmlns:a16="http://schemas.microsoft.com/office/drawing/2014/main" id="{E0ABA8FE-2EA0-4EDF-BC0F-26B78B0808BE}"/>
                </a:ext>
              </a:extLst>
            </p:cNvPr>
            <p:cNvGrpSpPr/>
            <p:nvPr/>
          </p:nvGrpSpPr>
          <p:grpSpPr>
            <a:xfrm rot="5400000">
              <a:off x="11033173" y="2614418"/>
              <a:ext cx="175040" cy="2041126"/>
              <a:chOff x="8229799" y="2768458"/>
              <a:chExt cx="175040" cy="2041126"/>
            </a:xfrm>
            <a:solidFill>
              <a:srgbClr val="B2E0F7"/>
            </a:solidFill>
          </p:grpSpPr>
          <p:sp>
            <p:nvSpPr>
              <p:cNvPr id="310" name="Trapezoid 309">
                <a:extLst>
                  <a:ext uri="{FF2B5EF4-FFF2-40B4-BE49-F238E27FC236}">
                    <a16:creationId xmlns:a16="http://schemas.microsoft.com/office/drawing/2014/main" id="{289424B3-B741-401F-BEE7-9FF499C786DE}"/>
                  </a:ext>
                </a:extLst>
              </p:cNvPr>
              <p:cNvSpPr/>
              <p:nvPr/>
            </p:nvSpPr>
            <p:spPr>
              <a:xfrm>
                <a:off x="8229799" y="2768458"/>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1" name="Trapezoid 310">
                <a:extLst>
                  <a:ext uri="{FF2B5EF4-FFF2-40B4-BE49-F238E27FC236}">
                    <a16:creationId xmlns:a16="http://schemas.microsoft.com/office/drawing/2014/main" id="{17EE35E8-E811-4D18-ACC2-8EE8ABF87E2F}"/>
                  </a:ext>
                </a:extLst>
              </p:cNvPr>
              <p:cNvSpPr/>
              <p:nvPr/>
            </p:nvSpPr>
            <p:spPr>
              <a:xfrm rot="10800000">
                <a:off x="8229799" y="4634676"/>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97" name="Group 296">
              <a:extLst>
                <a:ext uri="{FF2B5EF4-FFF2-40B4-BE49-F238E27FC236}">
                  <a16:creationId xmlns:a16="http://schemas.microsoft.com/office/drawing/2014/main" id="{56E0AB13-9CDD-45AB-AA08-03C3B55E1FA7}"/>
                </a:ext>
              </a:extLst>
            </p:cNvPr>
            <p:cNvGrpSpPr/>
            <p:nvPr/>
          </p:nvGrpSpPr>
          <p:grpSpPr>
            <a:xfrm rot="1800000">
              <a:off x="11033174" y="2614418"/>
              <a:ext cx="175040" cy="2041126"/>
              <a:chOff x="8229799" y="2768458"/>
              <a:chExt cx="175040" cy="2041126"/>
            </a:xfrm>
            <a:solidFill>
              <a:srgbClr val="B2E0F7"/>
            </a:solidFill>
          </p:grpSpPr>
          <p:sp>
            <p:nvSpPr>
              <p:cNvPr id="308" name="Trapezoid 307">
                <a:extLst>
                  <a:ext uri="{FF2B5EF4-FFF2-40B4-BE49-F238E27FC236}">
                    <a16:creationId xmlns:a16="http://schemas.microsoft.com/office/drawing/2014/main" id="{DC6CD113-D05B-420A-A76E-5057FB9F7320}"/>
                  </a:ext>
                </a:extLst>
              </p:cNvPr>
              <p:cNvSpPr/>
              <p:nvPr/>
            </p:nvSpPr>
            <p:spPr>
              <a:xfrm>
                <a:off x="8229799" y="2768458"/>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09" name="Trapezoid 308">
                <a:extLst>
                  <a:ext uri="{FF2B5EF4-FFF2-40B4-BE49-F238E27FC236}">
                    <a16:creationId xmlns:a16="http://schemas.microsoft.com/office/drawing/2014/main" id="{44174190-67DC-4033-A0E6-6126700E6255}"/>
                  </a:ext>
                </a:extLst>
              </p:cNvPr>
              <p:cNvSpPr/>
              <p:nvPr/>
            </p:nvSpPr>
            <p:spPr>
              <a:xfrm rot="10800000">
                <a:off x="8229799" y="4634676"/>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98" name="Group 297">
              <a:extLst>
                <a:ext uri="{FF2B5EF4-FFF2-40B4-BE49-F238E27FC236}">
                  <a16:creationId xmlns:a16="http://schemas.microsoft.com/office/drawing/2014/main" id="{BA363648-A8EF-4741-A370-DA3950AC0720}"/>
                </a:ext>
              </a:extLst>
            </p:cNvPr>
            <p:cNvGrpSpPr/>
            <p:nvPr/>
          </p:nvGrpSpPr>
          <p:grpSpPr>
            <a:xfrm rot="3600000">
              <a:off x="11033173" y="2614419"/>
              <a:ext cx="175040" cy="2041126"/>
              <a:chOff x="8229799" y="2768458"/>
              <a:chExt cx="175040" cy="2041126"/>
            </a:xfrm>
            <a:solidFill>
              <a:srgbClr val="B2E0F7"/>
            </a:solidFill>
          </p:grpSpPr>
          <p:sp>
            <p:nvSpPr>
              <p:cNvPr id="306" name="Trapezoid 305">
                <a:extLst>
                  <a:ext uri="{FF2B5EF4-FFF2-40B4-BE49-F238E27FC236}">
                    <a16:creationId xmlns:a16="http://schemas.microsoft.com/office/drawing/2014/main" id="{B71BF3E2-0B29-413C-9A12-2289EF819FD6}"/>
                  </a:ext>
                </a:extLst>
              </p:cNvPr>
              <p:cNvSpPr/>
              <p:nvPr/>
            </p:nvSpPr>
            <p:spPr>
              <a:xfrm>
                <a:off x="8229799" y="2768458"/>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07" name="Trapezoid 306">
                <a:extLst>
                  <a:ext uri="{FF2B5EF4-FFF2-40B4-BE49-F238E27FC236}">
                    <a16:creationId xmlns:a16="http://schemas.microsoft.com/office/drawing/2014/main" id="{2D55CC21-148D-4478-93AB-887337DD6A06}"/>
                  </a:ext>
                </a:extLst>
              </p:cNvPr>
              <p:cNvSpPr/>
              <p:nvPr/>
            </p:nvSpPr>
            <p:spPr>
              <a:xfrm rot="10800000">
                <a:off x="8229799" y="4634676"/>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99" name="Group 298">
              <a:extLst>
                <a:ext uri="{FF2B5EF4-FFF2-40B4-BE49-F238E27FC236}">
                  <a16:creationId xmlns:a16="http://schemas.microsoft.com/office/drawing/2014/main" id="{54C7E3EE-4D62-4D87-85BA-C0BF386F255C}"/>
                </a:ext>
              </a:extLst>
            </p:cNvPr>
            <p:cNvGrpSpPr/>
            <p:nvPr/>
          </p:nvGrpSpPr>
          <p:grpSpPr>
            <a:xfrm rot="7200000">
              <a:off x="11033173" y="2614419"/>
              <a:ext cx="175040" cy="2041126"/>
              <a:chOff x="8229799" y="2768458"/>
              <a:chExt cx="175040" cy="2041126"/>
            </a:xfrm>
            <a:solidFill>
              <a:srgbClr val="B2E0F7"/>
            </a:solidFill>
          </p:grpSpPr>
          <p:sp>
            <p:nvSpPr>
              <p:cNvPr id="304" name="Trapezoid 303">
                <a:extLst>
                  <a:ext uri="{FF2B5EF4-FFF2-40B4-BE49-F238E27FC236}">
                    <a16:creationId xmlns:a16="http://schemas.microsoft.com/office/drawing/2014/main" id="{A6A764A6-0F12-4B8B-9B3A-B01E499DBCE8}"/>
                  </a:ext>
                </a:extLst>
              </p:cNvPr>
              <p:cNvSpPr/>
              <p:nvPr/>
            </p:nvSpPr>
            <p:spPr>
              <a:xfrm>
                <a:off x="8229799" y="2768458"/>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05" name="Trapezoid 304">
                <a:extLst>
                  <a:ext uri="{FF2B5EF4-FFF2-40B4-BE49-F238E27FC236}">
                    <a16:creationId xmlns:a16="http://schemas.microsoft.com/office/drawing/2014/main" id="{83CA2045-3094-4DC7-9DC1-999E847CF041}"/>
                  </a:ext>
                </a:extLst>
              </p:cNvPr>
              <p:cNvSpPr/>
              <p:nvPr/>
            </p:nvSpPr>
            <p:spPr>
              <a:xfrm rot="10800000">
                <a:off x="8229799" y="4634676"/>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300" name="Group 299">
              <a:extLst>
                <a:ext uri="{FF2B5EF4-FFF2-40B4-BE49-F238E27FC236}">
                  <a16:creationId xmlns:a16="http://schemas.microsoft.com/office/drawing/2014/main" id="{A8F94A03-AC63-4B97-B39E-7C9C64762B58}"/>
                </a:ext>
              </a:extLst>
            </p:cNvPr>
            <p:cNvGrpSpPr/>
            <p:nvPr/>
          </p:nvGrpSpPr>
          <p:grpSpPr>
            <a:xfrm rot="9000000">
              <a:off x="11033174" y="2614418"/>
              <a:ext cx="175040" cy="2041126"/>
              <a:chOff x="8229799" y="2768458"/>
              <a:chExt cx="175040" cy="2041126"/>
            </a:xfrm>
            <a:solidFill>
              <a:srgbClr val="B2E0F7"/>
            </a:solidFill>
          </p:grpSpPr>
          <p:sp>
            <p:nvSpPr>
              <p:cNvPr id="302" name="Trapezoid 301">
                <a:extLst>
                  <a:ext uri="{FF2B5EF4-FFF2-40B4-BE49-F238E27FC236}">
                    <a16:creationId xmlns:a16="http://schemas.microsoft.com/office/drawing/2014/main" id="{E99F61B0-E1D3-4956-9C70-90BBA9C7B6E6}"/>
                  </a:ext>
                </a:extLst>
              </p:cNvPr>
              <p:cNvSpPr/>
              <p:nvPr/>
            </p:nvSpPr>
            <p:spPr>
              <a:xfrm>
                <a:off x="8229799" y="2768458"/>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03" name="Trapezoid 302">
                <a:extLst>
                  <a:ext uri="{FF2B5EF4-FFF2-40B4-BE49-F238E27FC236}">
                    <a16:creationId xmlns:a16="http://schemas.microsoft.com/office/drawing/2014/main" id="{4F859C01-7A71-4DD7-B921-10058D4D566E}"/>
                  </a:ext>
                </a:extLst>
              </p:cNvPr>
              <p:cNvSpPr/>
              <p:nvPr/>
            </p:nvSpPr>
            <p:spPr>
              <a:xfrm rot="10800000">
                <a:off x="8229799" y="4634676"/>
                <a:ext cx="175040" cy="174908"/>
              </a:xfrm>
              <a:prstGeom prst="trapezoid">
                <a:avLst/>
              </a:prstGeom>
              <a:solidFill>
                <a:srgbClr val="FFFFFF">
                  <a:lumMod val="65000"/>
                </a:srgbClr>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301" name="Oval 300">
              <a:extLst>
                <a:ext uri="{FF2B5EF4-FFF2-40B4-BE49-F238E27FC236}">
                  <a16:creationId xmlns:a16="http://schemas.microsoft.com/office/drawing/2014/main" id="{3AA6E409-301F-4C7B-8A1A-8897A9532FAD}"/>
                </a:ext>
              </a:extLst>
            </p:cNvPr>
            <p:cNvSpPr>
              <a:spLocks noChangeAspect="1"/>
            </p:cNvSpPr>
            <p:nvPr/>
          </p:nvSpPr>
          <p:spPr>
            <a:xfrm>
              <a:off x="10414279" y="2934351"/>
              <a:ext cx="1408186" cy="1408186"/>
            </a:xfrm>
            <a:prstGeom prst="ellipse">
              <a:avLst/>
            </a:prstGeom>
            <a:solidFill>
              <a:srgbClr val="FFFFFF"/>
            </a:solidFill>
            <a:ln w="76200" cap="flat" cmpd="sng" algn="ctr">
              <a:solidFill>
                <a:srgbClr val="FFFFFF">
                  <a:lumMod val="50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7F7F7F"/>
                </a:solidFill>
                <a:effectLst/>
                <a:uLnTx/>
                <a:uFillTx/>
                <a:latin typeface="Arial"/>
                <a:ea typeface="Arial Unicode MS"/>
                <a:cs typeface="Arial Unicode MS"/>
              </a:endParaRPr>
            </a:p>
          </p:txBody>
        </p:sp>
      </p:grpSp>
      <p:sp>
        <p:nvSpPr>
          <p:cNvPr id="314" name="Arc 313">
            <a:extLst>
              <a:ext uri="{FF2B5EF4-FFF2-40B4-BE49-F238E27FC236}">
                <a16:creationId xmlns:a16="http://schemas.microsoft.com/office/drawing/2014/main" id="{74B269B8-4FA6-4297-80FB-6BB753809CBB}"/>
              </a:ext>
            </a:extLst>
          </p:cNvPr>
          <p:cNvSpPr/>
          <p:nvPr/>
        </p:nvSpPr>
        <p:spPr>
          <a:xfrm>
            <a:off x="2997345"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5" name="Arc 314">
            <a:extLst>
              <a:ext uri="{FF2B5EF4-FFF2-40B4-BE49-F238E27FC236}">
                <a16:creationId xmlns:a16="http://schemas.microsoft.com/office/drawing/2014/main" id="{86886464-AF17-419C-B629-F51CF76ABCF1}"/>
              </a:ext>
            </a:extLst>
          </p:cNvPr>
          <p:cNvSpPr/>
          <p:nvPr/>
        </p:nvSpPr>
        <p:spPr>
          <a:xfrm>
            <a:off x="5496020"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6" name="Arc 315">
            <a:extLst>
              <a:ext uri="{FF2B5EF4-FFF2-40B4-BE49-F238E27FC236}">
                <a16:creationId xmlns:a16="http://schemas.microsoft.com/office/drawing/2014/main" id="{1F8DF814-0E45-4DFF-B700-45211D4211ED}"/>
              </a:ext>
            </a:extLst>
          </p:cNvPr>
          <p:cNvSpPr/>
          <p:nvPr/>
        </p:nvSpPr>
        <p:spPr>
          <a:xfrm>
            <a:off x="7994696"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7" name="Arc 316">
            <a:extLst>
              <a:ext uri="{FF2B5EF4-FFF2-40B4-BE49-F238E27FC236}">
                <a16:creationId xmlns:a16="http://schemas.microsoft.com/office/drawing/2014/main" id="{54509321-67DA-4B61-A376-0A1A543DD867}"/>
              </a:ext>
            </a:extLst>
          </p:cNvPr>
          <p:cNvSpPr/>
          <p:nvPr/>
        </p:nvSpPr>
        <p:spPr>
          <a:xfrm rot="10800000">
            <a:off x="6715288"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8" name="Arc 317">
            <a:extLst>
              <a:ext uri="{FF2B5EF4-FFF2-40B4-BE49-F238E27FC236}">
                <a16:creationId xmlns:a16="http://schemas.microsoft.com/office/drawing/2014/main" id="{B91877CD-760B-4F1C-B2DD-10ADF01E3767}"/>
              </a:ext>
            </a:extLst>
          </p:cNvPr>
          <p:cNvSpPr/>
          <p:nvPr/>
        </p:nvSpPr>
        <p:spPr>
          <a:xfrm rot="10800000">
            <a:off x="4216612"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nvGrpSpPr>
          <p:cNvPr id="319" name="Customer_satisfaction2" descr="{&quot;Key&quot;:&quot;POWER_USER_SHAPE_ICON&quot;,&quot;Value&quot;:&quot;POWER_USER_SHAPE_ICON_STYLE_1&quot;}">
            <a:extLst>
              <a:ext uri="{FF2B5EF4-FFF2-40B4-BE49-F238E27FC236}">
                <a16:creationId xmlns:a16="http://schemas.microsoft.com/office/drawing/2014/main" id="{A3018473-1475-4B5E-A77C-7A477DF3DA4F}"/>
              </a:ext>
            </a:extLst>
          </p:cNvPr>
          <p:cNvGrpSpPr>
            <a:grpSpLocks noChangeAspect="1"/>
          </p:cNvGrpSpPr>
          <p:nvPr>
            <p:custDataLst>
              <p:tags r:id="rId3"/>
            </p:custDataLst>
          </p:nvPr>
        </p:nvGrpSpPr>
        <p:grpSpPr>
          <a:xfrm>
            <a:off x="3419930" y="3848233"/>
            <a:ext cx="351358" cy="542929"/>
            <a:chOff x="2518372" y="1775368"/>
            <a:chExt cx="257466" cy="397844"/>
          </a:xfrm>
          <a:solidFill>
            <a:srgbClr val="002856"/>
          </a:solidFill>
        </p:grpSpPr>
        <p:sp>
          <p:nvSpPr>
            <p:cNvPr id="320" name="Facebook_like">
              <a:extLst>
                <a:ext uri="{FF2B5EF4-FFF2-40B4-BE49-F238E27FC236}">
                  <a16:creationId xmlns:a16="http://schemas.microsoft.com/office/drawing/2014/main" id="{44770D3F-4A23-4ABF-95A5-3437A24DE026}"/>
                </a:ext>
              </a:extLst>
            </p:cNvPr>
            <p:cNvSpPr>
              <a:spLocks noChangeAspect="1" noChangeArrowheads="1"/>
            </p:cNvSpPr>
            <p:nvPr>
              <p:custDataLst>
                <p:tags r:id="rId4"/>
              </p:custDataLst>
            </p:nvPr>
          </p:nvSpPr>
          <p:spPr bwMode="auto">
            <a:xfrm>
              <a:off x="2526645" y="1963891"/>
              <a:ext cx="227891" cy="209321"/>
            </a:xfrm>
            <a:custGeom>
              <a:avLst/>
              <a:gdLst>
                <a:gd name="T0" fmla="*/ 0 w 597"/>
                <a:gd name="T1" fmla="*/ 544 h 545"/>
                <a:gd name="T2" fmla="*/ 109 w 597"/>
                <a:gd name="T3" fmla="*/ 544 h 545"/>
                <a:gd name="T4" fmla="*/ 109 w 597"/>
                <a:gd name="T5" fmla="*/ 218 h 545"/>
                <a:gd name="T6" fmla="*/ 0 w 597"/>
                <a:gd name="T7" fmla="*/ 218 h 545"/>
                <a:gd name="T8" fmla="*/ 0 w 597"/>
                <a:gd name="T9" fmla="*/ 544 h 545"/>
                <a:gd name="T10" fmla="*/ 596 w 597"/>
                <a:gd name="T11" fmla="*/ 243 h 545"/>
                <a:gd name="T12" fmla="*/ 539 w 597"/>
                <a:gd name="T13" fmla="*/ 192 h 545"/>
                <a:gd name="T14" fmla="*/ 368 w 597"/>
                <a:gd name="T15" fmla="*/ 192 h 545"/>
                <a:gd name="T16" fmla="*/ 399 w 597"/>
                <a:gd name="T17" fmla="*/ 62 h 545"/>
                <a:gd name="T18" fmla="*/ 399 w 597"/>
                <a:gd name="T19" fmla="*/ 57 h 545"/>
                <a:gd name="T20" fmla="*/ 389 w 597"/>
                <a:gd name="T21" fmla="*/ 26 h 545"/>
                <a:gd name="T22" fmla="*/ 358 w 597"/>
                <a:gd name="T23" fmla="*/ 0 h 545"/>
                <a:gd name="T24" fmla="*/ 176 w 597"/>
                <a:gd name="T25" fmla="*/ 176 h 545"/>
                <a:gd name="T26" fmla="*/ 161 w 597"/>
                <a:gd name="T27" fmla="*/ 218 h 545"/>
                <a:gd name="T28" fmla="*/ 161 w 597"/>
                <a:gd name="T29" fmla="*/ 487 h 545"/>
                <a:gd name="T30" fmla="*/ 218 w 597"/>
                <a:gd name="T31" fmla="*/ 544 h 545"/>
                <a:gd name="T32" fmla="*/ 461 w 597"/>
                <a:gd name="T33" fmla="*/ 544 h 545"/>
                <a:gd name="T34" fmla="*/ 508 w 597"/>
                <a:gd name="T35" fmla="*/ 508 h 545"/>
                <a:gd name="T36" fmla="*/ 591 w 597"/>
                <a:gd name="T37" fmla="*/ 316 h 545"/>
                <a:gd name="T38" fmla="*/ 591 w 597"/>
                <a:gd name="T39" fmla="*/ 295 h 545"/>
                <a:gd name="T40" fmla="*/ 591 w 597"/>
                <a:gd name="T41" fmla="*/ 243 h 545"/>
                <a:gd name="T42" fmla="*/ 596 w 597"/>
                <a:gd name="T43" fmla="*/ 243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7" h="545">
                  <a:moveTo>
                    <a:pt x="0" y="544"/>
                  </a:moveTo>
                  <a:lnTo>
                    <a:pt x="109" y="544"/>
                  </a:lnTo>
                  <a:lnTo>
                    <a:pt x="109" y="218"/>
                  </a:lnTo>
                  <a:lnTo>
                    <a:pt x="0" y="218"/>
                  </a:lnTo>
                  <a:lnTo>
                    <a:pt x="0" y="544"/>
                  </a:lnTo>
                  <a:close/>
                  <a:moveTo>
                    <a:pt x="596" y="243"/>
                  </a:moveTo>
                  <a:cubicBezTo>
                    <a:pt x="596" y="212"/>
                    <a:pt x="570" y="192"/>
                    <a:pt x="539" y="192"/>
                  </a:cubicBezTo>
                  <a:lnTo>
                    <a:pt x="368" y="192"/>
                  </a:lnTo>
                  <a:lnTo>
                    <a:pt x="399" y="62"/>
                  </a:lnTo>
                  <a:lnTo>
                    <a:pt x="399" y="57"/>
                  </a:lnTo>
                  <a:cubicBezTo>
                    <a:pt x="399" y="46"/>
                    <a:pt x="394" y="36"/>
                    <a:pt x="389" y="26"/>
                  </a:cubicBezTo>
                  <a:lnTo>
                    <a:pt x="358" y="0"/>
                  </a:lnTo>
                  <a:lnTo>
                    <a:pt x="176" y="176"/>
                  </a:lnTo>
                  <a:cubicBezTo>
                    <a:pt x="166" y="186"/>
                    <a:pt x="161" y="202"/>
                    <a:pt x="161" y="218"/>
                  </a:cubicBezTo>
                  <a:lnTo>
                    <a:pt x="161" y="487"/>
                  </a:lnTo>
                  <a:cubicBezTo>
                    <a:pt x="161" y="518"/>
                    <a:pt x="187" y="544"/>
                    <a:pt x="218" y="544"/>
                  </a:cubicBezTo>
                  <a:lnTo>
                    <a:pt x="461" y="544"/>
                  </a:lnTo>
                  <a:cubicBezTo>
                    <a:pt x="482" y="544"/>
                    <a:pt x="503" y="529"/>
                    <a:pt x="508" y="508"/>
                  </a:cubicBezTo>
                  <a:lnTo>
                    <a:pt x="591" y="316"/>
                  </a:lnTo>
                  <a:cubicBezTo>
                    <a:pt x="591" y="311"/>
                    <a:pt x="591" y="306"/>
                    <a:pt x="591" y="295"/>
                  </a:cubicBezTo>
                  <a:lnTo>
                    <a:pt x="591" y="243"/>
                  </a:lnTo>
                  <a:lnTo>
                    <a:pt x="596" y="243"/>
                  </a:lnTo>
                  <a:close/>
                </a:path>
              </a:pathLst>
            </a:custGeom>
            <a:grpFill/>
            <a:ln>
              <a:noFill/>
            </a:ln>
            <a:effec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grpSp>
          <p:nvGrpSpPr>
            <p:cNvPr id="321" name="Group 320">
              <a:extLst>
                <a:ext uri="{FF2B5EF4-FFF2-40B4-BE49-F238E27FC236}">
                  <a16:creationId xmlns:a16="http://schemas.microsoft.com/office/drawing/2014/main" id="{AB508569-7D85-4712-82C4-9690B15E959A}"/>
                </a:ext>
              </a:extLst>
            </p:cNvPr>
            <p:cNvGrpSpPr>
              <a:grpSpLocks noChangeAspect="1"/>
            </p:cNvGrpSpPr>
            <p:nvPr/>
          </p:nvGrpSpPr>
          <p:grpSpPr>
            <a:xfrm>
              <a:off x="2518372" y="1775368"/>
              <a:ext cx="257466" cy="187685"/>
              <a:chOff x="2343559" y="1553051"/>
              <a:chExt cx="607092" cy="442555"/>
            </a:xfrm>
            <a:grpFill/>
          </p:grpSpPr>
          <p:sp>
            <p:nvSpPr>
              <p:cNvPr id="322" name="Star3">
                <a:extLst>
                  <a:ext uri="{FF2B5EF4-FFF2-40B4-BE49-F238E27FC236}">
                    <a16:creationId xmlns:a16="http://schemas.microsoft.com/office/drawing/2014/main" id="{EC167E81-BFB6-4E2A-AF0D-2737EB0B1E6D}"/>
                  </a:ext>
                </a:extLst>
              </p:cNvPr>
              <p:cNvSpPr>
                <a:spLocks noChangeAspect="1"/>
              </p:cNvSpPr>
              <p:nvPr>
                <p:custDataLst>
                  <p:tags r:id="rId5"/>
                </p:custDataLst>
              </p:nvPr>
            </p:nvSpPr>
            <p:spPr bwMode="auto">
              <a:xfrm>
                <a:off x="2708475" y="1765353"/>
                <a:ext cx="242176" cy="230253"/>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sp>
            <p:nvSpPr>
              <p:cNvPr id="323" name="Star3">
                <a:extLst>
                  <a:ext uri="{FF2B5EF4-FFF2-40B4-BE49-F238E27FC236}">
                    <a16:creationId xmlns:a16="http://schemas.microsoft.com/office/drawing/2014/main" id="{68C552E9-D5C8-41E6-9A3B-C01E0008FDA4}"/>
                  </a:ext>
                </a:extLst>
              </p:cNvPr>
              <p:cNvSpPr>
                <a:spLocks noChangeAspect="1"/>
              </p:cNvSpPr>
              <p:nvPr>
                <p:custDataLst>
                  <p:tags r:id="rId6"/>
                </p:custDataLst>
              </p:nvPr>
            </p:nvSpPr>
            <p:spPr bwMode="auto">
              <a:xfrm>
                <a:off x="2343559" y="1765353"/>
                <a:ext cx="242176" cy="230253"/>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sp>
            <p:nvSpPr>
              <p:cNvPr id="324" name="Star3">
                <a:extLst>
                  <a:ext uri="{FF2B5EF4-FFF2-40B4-BE49-F238E27FC236}">
                    <a16:creationId xmlns:a16="http://schemas.microsoft.com/office/drawing/2014/main" id="{6DC4AF75-24C9-401B-9C44-EA09AC3D08DF}"/>
                  </a:ext>
                </a:extLst>
              </p:cNvPr>
              <p:cNvSpPr>
                <a:spLocks noChangeAspect="1"/>
              </p:cNvSpPr>
              <p:nvPr>
                <p:custDataLst>
                  <p:tags r:id="rId7"/>
                </p:custDataLst>
              </p:nvPr>
            </p:nvSpPr>
            <p:spPr bwMode="auto">
              <a:xfrm>
                <a:off x="2526017" y="1553051"/>
                <a:ext cx="242176" cy="230253"/>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grpSp>
      </p:grpSp>
      <p:sp>
        <p:nvSpPr>
          <p:cNvPr id="149" name="TextBox 148">
            <a:extLst>
              <a:ext uri="{FF2B5EF4-FFF2-40B4-BE49-F238E27FC236}">
                <a16:creationId xmlns:a16="http://schemas.microsoft.com/office/drawing/2014/main" id="{586A2C6A-98F0-4546-A582-077FE8F9B2BC}"/>
              </a:ext>
            </a:extLst>
          </p:cNvPr>
          <p:cNvSpPr txBox="1"/>
          <p:nvPr/>
        </p:nvSpPr>
        <p:spPr>
          <a:xfrm>
            <a:off x="3593179" y="5361049"/>
            <a:ext cx="1893467" cy="400110"/>
          </a:xfrm>
          <a:prstGeom prst="rect">
            <a:avLst/>
          </a:prstGeom>
          <a:noFill/>
          <a:ln>
            <a:noFill/>
          </a:ln>
        </p:spPr>
        <p:txBody>
          <a:bodyPr wrap="none" rtlCol="0">
            <a:spAutoFit/>
          </a:bodyPr>
          <a:lstStyle/>
          <a:p>
            <a:pPr algn="ctr" defTabSz="742950">
              <a:defRPr/>
            </a:pPr>
            <a:r>
              <a:rPr lang="en-IE" sz="2000" b="1" kern="0" dirty="0">
                <a:solidFill>
                  <a:srgbClr val="00254C"/>
                </a:solidFill>
              </a:rPr>
              <a:t>2</a:t>
            </a:r>
            <a:r>
              <a:rPr lang="en-BE" sz="2000" b="1" kern="0" dirty="0" smtClean="0">
                <a:solidFill>
                  <a:srgbClr val="00254C"/>
                </a:solidFill>
              </a:rPr>
              <a:t>. </a:t>
            </a:r>
            <a:r>
              <a:rPr lang="en-IE" sz="2000" b="1" kern="0" dirty="0" smtClean="0">
                <a:solidFill>
                  <a:srgbClr val="00254C"/>
                </a:solidFill>
              </a:rPr>
              <a:t>Automation</a:t>
            </a:r>
            <a:endParaRPr lang="en-BE" sz="2000" b="1" kern="0" dirty="0">
              <a:solidFill>
                <a:srgbClr val="00254C"/>
              </a:solidFill>
            </a:endParaRPr>
          </a:p>
        </p:txBody>
      </p:sp>
      <p:sp>
        <p:nvSpPr>
          <p:cNvPr id="150" name="TextBox 149">
            <a:extLst>
              <a:ext uri="{FF2B5EF4-FFF2-40B4-BE49-F238E27FC236}">
                <a16:creationId xmlns:a16="http://schemas.microsoft.com/office/drawing/2014/main" id="{19540246-EEC1-4560-B685-F7A3928F2692}"/>
              </a:ext>
            </a:extLst>
          </p:cNvPr>
          <p:cNvSpPr txBox="1"/>
          <p:nvPr/>
        </p:nvSpPr>
        <p:spPr>
          <a:xfrm>
            <a:off x="2997345" y="5734188"/>
            <a:ext cx="3305858" cy="646331"/>
          </a:xfrm>
          <a:prstGeom prst="rect">
            <a:avLst/>
          </a:prstGeom>
          <a:noFill/>
          <a:ln>
            <a:noFill/>
          </a:ln>
        </p:spPr>
        <p:txBody>
          <a:bodyPr wrap="square" rtlCol="0">
            <a:spAutoFit/>
          </a:bodyPr>
          <a:lstStyle/>
          <a:p>
            <a:pPr lvl="1"/>
            <a:r>
              <a:rPr lang="en-IE" dirty="0" smtClean="0"/>
              <a:t>AI powered (semantic) integration</a:t>
            </a:r>
            <a:endParaRPr lang="en-IE" dirty="0"/>
          </a:p>
        </p:txBody>
      </p:sp>
      <p:sp>
        <p:nvSpPr>
          <p:cNvPr id="153" name="TextBox 152">
            <a:extLst>
              <a:ext uri="{FF2B5EF4-FFF2-40B4-BE49-F238E27FC236}">
                <a16:creationId xmlns:a16="http://schemas.microsoft.com/office/drawing/2014/main" id="{586A2C6A-98F0-4546-A582-077FE8F9B2BC}"/>
              </a:ext>
            </a:extLst>
          </p:cNvPr>
          <p:cNvSpPr txBox="1"/>
          <p:nvPr/>
        </p:nvSpPr>
        <p:spPr>
          <a:xfrm>
            <a:off x="5248627" y="1598064"/>
            <a:ext cx="1664238" cy="400110"/>
          </a:xfrm>
          <a:prstGeom prst="rect">
            <a:avLst/>
          </a:prstGeom>
          <a:noFill/>
          <a:ln>
            <a:noFill/>
          </a:ln>
        </p:spPr>
        <p:txBody>
          <a:bodyPr wrap="none" rtlCol="0">
            <a:spAutoFit/>
          </a:bodyPr>
          <a:lstStyle/>
          <a:p>
            <a:pPr algn="ctr" defTabSz="742950">
              <a:defRPr/>
            </a:pPr>
            <a:r>
              <a:rPr lang="en-IE" sz="2000" b="1" kern="0" dirty="0" smtClean="0">
                <a:solidFill>
                  <a:srgbClr val="00254C"/>
                </a:solidFill>
              </a:rPr>
              <a:t>3</a:t>
            </a:r>
            <a:r>
              <a:rPr lang="en-BE" sz="2000" b="1" kern="0" dirty="0" smtClean="0">
                <a:solidFill>
                  <a:srgbClr val="00254C"/>
                </a:solidFill>
              </a:rPr>
              <a:t>. </a:t>
            </a:r>
            <a:r>
              <a:rPr lang="en-IE" sz="2000" b="1" kern="0" dirty="0" err="1" smtClean="0">
                <a:solidFill>
                  <a:srgbClr val="00254C"/>
                </a:solidFill>
              </a:rPr>
              <a:t>Modeling</a:t>
            </a:r>
            <a:r>
              <a:rPr lang="en-IE" sz="2000" b="1" kern="0" dirty="0" smtClean="0">
                <a:solidFill>
                  <a:srgbClr val="00254C"/>
                </a:solidFill>
              </a:rPr>
              <a:t> </a:t>
            </a:r>
            <a:endParaRPr lang="en-BE" sz="2000" b="1" kern="0" dirty="0">
              <a:solidFill>
                <a:srgbClr val="00254C"/>
              </a:solidFill>
            </a:endParaRPr>
          </a:p>
        </p:txBody>
      </p:sp>
      <p:sp>
        <p:nvSpPr>
          <p:cNvPr id="154" name="TextBox 153">
            <a:extLst>
              <a:ext uri="{FF2B5EF4-FFF2-40B4-BE49-F238E27FC236}">
                <a16:creationId xmlns:a16="http://schemas.microsoft.com/office/drawing/2014/main" id="{19540246-EEC1-4560-B685-F7A3928F2692}"/>
              </a:ext>
            </a:extLst>
          </p:cNvPr>
          <p:cNvSpPr txBox="1"/>
          <p:nvPr/>
        </p:nvSpPr>
        <p:spPr>
          <a:xfrm>
            <a:off x="4538175" y="2022962"/>
            <a:ext cx="3745872" cy="646331"/>
          </a:xfrm>
          <a:prstGeom prst="rect">
            <a:avLst/>
          </a:prstGeom>
          <a:noFill/>
          <a:ln>
            <a:noFill/>
          </a:ln>
        </p:spPr>
        <p:txBody>
          <a:bodyPr wrap="square" rtlCol="0">
            <a:spAutoFit/>
          </a:bodyPr>
          <a:lstStyle/>
          <a:p>
            <a:pPr lvl="1"/>
            <a:r>
              <a:rPr lang="en-IE" dirty="0" err="1" smtClean="0"/>
              <a:t>Multi level</a:t>
            </a:r>
            <a:r>
              <a:rPr lang="en-IE" dirty="0" smtClean="0"/>
              <a:t> modelling for integration and bias correction </a:t>
            </a:r>
            <a:endParaRPr lang="en-IE" dirty="0"/>
          </a:p>
        </p:txBody>
      </p:sp>
      <p:sp>
        <p:nvSpPr>
          <p:cNvPr id="156" name="TextBox 155">
            <a:extLst>
              <a:ext uri="{FF2B5EF4-FFF2-40B4-BE49-F238E27FC236}">
                <a16:creationId xmlns:a16="http://schemas.microsoft.com/office/drawing/2014/main" id="{586A2C6A-98F0-4546-A582-077FE8F9B2BC}"/>
              </a:ext>
            </a:extLst>
          </p:cNvPr>
          <p:cNvSpPr txBox="1"/>
          <p:nvPr/>
        </p:nvSpPr>
        <p:spPr>
          <a:xfrm>
            <a:off x="5984938" y="5341913"/>
            <a:ext cx="2988319" cy="400110"/>
          </a:xfrm>
          <a:prstGeom prst="rect">
            <a:avLst/>
          </a:prstGeom>
          <a:noFill/>
          <a:ln>
            <a:noFill/>
          </a:ln>
        </p:spPr>
        <p:txBody>
          <a:bodyPr wrap="none" rtlCol="0">
            <a:spAutoFit/>
          </a:bodyPr>
          <a:lstStyle/>
          <a:p>
            <a:pPr algn="ctr" defTabSz="742950">
              <a:defRPr/>
            </a:pPr>
            <a:r>
              <a:rPr lang="en-IE" sz="2000" b="1" kern="0" dirty="0" smtClean="0">
                <a:solidFill>
                  <a:srgbClr val="00254C"/>
                </a:solidFill>
              </a:rPr>
              <a:t>4</a:t>
            </a:r>
            <a:r>
              <a:rPr lang="en-BE" sz="2000" b="1" kern="0" dirty="0" smtClean="0">
                <a:solidFill>
                  <a:srgbClr val="00254C"/>
                </a:solidFill>
              </a:rPr>
              <a:t>. </a:t>
            </a:r>
            <a:r>
              <a:rPr lang="en-IE" sz="2000" b="1" kern="0" dirty="0" smtClean="0">
                <a:solidFill>
                  <a:srgbClr val="00254C"/>
                </a:solidFill>
              </a:rPr>
              <a:t>Synthetic micro data</a:t>
            </a:r>
            <a:endParaRPr lang="en-BE" sz="2000" b="1" kern="0" dirty="0">
              <a:solidFill>
                <a:srgbClr val="00254C"/>
              </a:solidFill>
            </a:endParaRPr>
          </a:p>
        </p:txBody>
      </p:sp>
      <p:sp>
        <p:nvSpPr>
          <p:cNvPr id="157" name="TextBox 156">
            <a:extLst>
              <a:ext uri="{FF2B5EF4-FFF2-40B4-BE49-F238E27FC236}">
                <a16:creationId xmlns:a16="http://schemas.microsoft.com/office/drawing/2014/main" id="{19540246-EEC1-4560-B685-F7A3928F2692}"/>
              </a:ext>
            </a:extLst>
          </p:cNvPr>
          <p:cNvSpPr txBox="1"/>
          <p:nvPr/>
        </p:nvSpPr>
        <p:spPr>
          <a:xfrm>
            <a:off x="5936523" y="5715052"/>
            <a:ext cx="3305858" cy="646331"/>
          </a:xfrm>
          <a:prstGeom prst="rect">
            <a:avLst/>
          </a:prstGeom>
          <a:noFill/>
          <a:ln>
            <a:noFill/>
          </a:ln>
        </p:spPr>
        <p:txBody>
          <a:bodyPr wrap="square" rtlCol="0">
            <a:spAutoFit/>
          </a:bodyPr>
          <a:lstStyle/>
          <a:p>
            <a:pPr lvl="1"/>
            <a:r>
              <a:rPr lang="en-IE" dirty="0" smtClean="0"/>
              <a:t>Model based integrated statistical data marts</a:t>
            </a:r>
            <a:endParaRPr lang="en-IE" dirty="0"/>
          </a:p>
        </p:txBody>
      </p:sp>
      <p:sp>
        <p:nvSpPr>
          <p:cNvPr id="146" name="TextBox 145">
            <a:extLst>
              <a:ext uri="{FF2B5EF4-FFF2-40B4-BE49-F238E27FC236}">
                <a16:creationId xmlns:a16="http://schemas.microsoft.com/office/drawing/2014/main" id="{586A2C6A-98F0-4546-A582-077FE8F9B2BC}"/>
              </a:ext>
            </a:extLst>
          </p:cNvPr>
          <p:cNvSpPr txBox="1"/>
          <p:nvPr/>
        </p:nvSpPr>
        <p:spPr>
          <a:xfrm>
            <a:off x="8425369" y="1525488"/>
            <a:ext cx="2863283" cy="400110"/>
          </a:xfrm>
          <a:prstGeom prst="rect">
            <a:avLst/>
          </a:prstGeom>
          <a:noFill/>
          <a:ln>
            <a:noFill/>
          </a:ln>
        </p:spPr>
        <p:txBody>
          <a:bodyPr wrap="none" rtlCol="0">
            <a:spAutoFit/>
          </a:bodyPr>
          <a:lstStyle/>
          <a:p>
            <a:pPr algn="ctr" defTabSz="742950">
              <a:defRPr/>
            </a:pPr>
            <a:r>
              <a:rPr lang="en-IE" sz="2000" b="1" kern="0" dirty="0" smtClean="0">
                <a:solidFill>
                  <a:srgbClr val="00254C"/>
                </a:solidFill>
              </a:rPr>
              <a:t>5</a:t>
            </a:r>
            <a:r>
              <a:rPr lang="en-BE" sz="2000" b="1" kern="0" dirty="0" smtClean="0">
                <a:solidFill>
                  <a:srgbClr val="00254C"/>
                </a:solidFill>
              </a:rPr>
              <a:t>. </a:t>
            </a:r>
            <a:r>
              <a:rPr lang="en-IE" sz="2000" b="1" kern="0" dirty="0" smtClean="0">
                <a:solidFill>
                  <a:srgbClr val="00254C"/>
                </a:solidFill>
              </a:rPr>
              <a:t>Combining sources</a:t>
            </a:r>
            <a:endParaRPr lang="en-BE" sz="2000" b="1" kern="0" dirty="0">
              <a:solidFill>
                <a:srgbClr val="00254C"/>
              </a:solidFill>
            </a:endParaRPr>
          </a:p>
        </p:txBody>
      </p:sp>
      <p:sp>
        <p:nvSpPr>
          <p:cNvPr id="147" name="TextBox 146">
            <a:extLst>
              <a:ext uri="{FF2B5EF4-FFF2-40B4-BE49-F238E27FC236}">
                <a16:creationId xmlns:a16="http://schemas.microsoft.com/office/drawing/2014/main" id="{19540246-EEC1-4560-B685-F7A3928F2692}"/>
              </a:ext>
            </a:extLst>
          </p:cNvPr>
          <p:cNvSpPr txBox="1"/>
          <p:nvPr/>
        </p:nvSpPr>
        <p:spPr>
          <a:xfrm>
            <a:off x="8314427" y="1898627"/>
            <a:ext cx="3305858" cy="646331"/>
          </a:xfrm>
          <a:prstGeom prst="rect">
            <a:avLst/>
          </a:prstGeom>
          <a:noFill/>
          <a:ln>
            <a:noFill/>
          </a:ln>
        </p:spPr>
        <p:txBody>
          <a:bodyPr wrap="square" rtlCol="0">
            <a:spAutoFit/>
          </a:bodyPr>
          <a:lstStyle/>
          <a:p>
            <a:pPr lvl="1"/>
            <a:r>
              <a:rPr lang="en-IE" dirty="0" smtClean="0"/>
              <a:t>Combine sources to validate / improve outputs</a:t>
            </a:r>
            <a:endParaRPr lang="en-IE" dirty="0"/>
          </a:p>
        </p:txBody>
      </p:sp>
      <p:grpSp>
        <p:nvGrpSpPr>
          <p:cNvPr id="148" name="Group 147"/>
          <p:cNvGrpSpPr/>
          <p:nvPr/>
        </p:nvGrpSpPr>
        <p:grpSpPr>
          <a:xfrm>
            <a:off x="3251889" y="3838935"/>
            <a:ext cx="728282" cy="619799"/>
            <a:chOff x="1885412" y="3668174"/>
            <a:chExt cx="1581984" cy="1055775"/>
          </a:xfrm>
        </p:grpSpPr>
        <p:pic>
          <p:nvPicPr>
            <p:cNvPr id="151" name="Picture 13"/>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1958147" y="3668174"/>
              <a:ext cx="598765" cy="4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2" name="Picture 15"/>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885412" y="4151565"/>
              <a:ext cx="736441" cy="57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5" name="Picture 16"/>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806288" y="3675253"/>
              <a:ext cx="500052" cy="390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8" name="Picture 17"/>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799793" y="4152576"/>
              <a:ext cx="667603" cy="53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Picture 2"/>
          <p:cNvPicPr>
            <a:picLocks noChangeAspect="1"/>
          </p:cNvPicPr>
          <p:nvPr/>
        </p:nvPicPr>
        <p:blipFill>
          <a:blip r:embed="rId15">
            <a:extLst>
              <a:ext uri="{28A0092B-C50C-407E-A947-70E740481C1C}">
                <a14:useLocalDpi xmlns:a14="http://schemas.microsoft.com/office/drawing/2010/main" val="0"/>
              </a:ext>
            </a:extLst>
          </a:blip>
          <a:stretch>
            <a:fillRect/>
          </a:stretch>
        </p:blipFill>
        <p:spPr>
          <a:xfrm>
            <a:off x="4382043" y="3762106"/>
            <a:ext cx="924098" cy="725876"/>
          </a:xfrm>
          <a:prstGeom prst="rect">
            <a:avLst/>
          </a:prstGeom>
          <a:effectLst>
            <a:softEdge rad="76200"/>
          </a:effectLst>
        </p:spPr>
      </p:pic>
      <p:pic>
        <p:nvPicPr>
          <p:cNvPr id="4" name="Picture 3"/>
          <p:cNvPicPr>
            <a:picLocks noChangeAspect="1"/>
          </p:cNvPicPr>
          <p:nvPr/>
        </p:nvPicPr>
        <p:blipFill>
          <a:blip r:embed="rId16">
            <a:extLst>
              <a:ext uri="{28A0092B-C50C-407E-A947-70E740481C1C}">
                <a14:useLocalDpi xmlns:a14="http://schemas.microsoft.com/office/drawing/2010/main" val="0"/>
              </a:ext>
            </a:extLst>
          </a:blip>
          <a:stretch>
            <a:fillRect/>
          </a:stretch>
        </p:blipFill>
        <p:spPr>
          <a:xfrm>
            <a:off x="5667832" y="3801557"/>
            <a:ext cx="859838" cy="636280"/>
          </a:xfrm>
          <a:prstGeom prst="rect">
            <a:avLst/>
          </a:prstGeom>
          <a:effectLst>
            <a:softEdge rad="76200"/>
          </a:effectLst>
        </p:spPr>
      </p:pic>
      <p:pic>
        <p:nvPicPr>
          <p:cNvPr id="5" name="Picture 4"/>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flipH="1">
            <a:off x="6885461" y="3821943"/>
            <a:ext cx="948671" cy="632447"/>
          </a:xfrm>
          <a:prstGeom prst="rect">
            <a:avLst/>
          </a:prstGeom>
          <a:effectLst>
            <a:softEdge rad="76200"/>
          </a:effectLst>
        </p:spPr>
      </p:pic>
      <p:pic>
        <p:nvPicPr>
          <p:cNvPr id="6" name="Picture 5"/>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flipH="1">
            <a:off x="8035954" y="3524527"/>
            <a:ext cx="1142948" cy="1142948"/>
          </a:xfrm>
          <a:prstGeom prst="rect">
            <a:avLst/>
          </a:prstGeom>
        </p:spPr>
      </p:pic>
    </p:spTree>
    <p:extLst>
      <p:ext uri="{BB962C8B-B14F-4D97-AF65-F5344CB8AC3E}">
        <p14:creationId xmlns:p14="http://schemas.microsoft.com/office/powerpoint/2010/main" val="2733171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6" name="Object 395" hidden="1">
            <a:extLst>
              <a:ext uri="{FF2B5EF4-FFF2-40B4-BE49-F238E27FC236}">
                <a16:creationId xmlns:a16="http://schemas.microsoft.com/office/drawing/2014/main" id="{6BB23D97-C0E3-459C-B150-FD7002B5815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2" name="think-cell Slide" r:id="rId4" imgW="473" imgH="473" progId="TCLayout.ActiveDocument.1">
                  <p:embed/>
                </p:oleObj>
              </mc:Choice>
              <mc:Fallback>
                <p:oleObj name="think-cell Slide" r:id="rId4" imgW="473" imgH="473" progId="TCLayout.ActiveDocument.1">
                  <p:embed/>
                  <p:pic>
                    <p:nvPicPr>
                      <p:cNvPr id="396" name="Object 395" hidden="1">
                        <a:extLst>
                          <a:ext uri="{FF2B5EF4-FFF2-40B4-BE49-F238E27FC236}">
                            <a16:creationId xmlns:a16="http://schemas.microsoft.com/office/drawing/2014/main" id="{6BB23D97-C0E3-459C-B150-FD7002B581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C3FBD8-4BB3-4724-92BF-6CCAA821E7C7}"/>
              </a:ext>
            </a:extLst>
          </p:cNvPr>
          <p:cNvSpPr>
            <a:spLocks noGrp="1"/>
          </p:cNvSpPr>
          <p:nvPr>
            <p:ph type="title"/>
          </p:nvPr>
        </p:nvSpPr>
        <p:spPr/>
        <p:txBody>
          <a:bodyPr vert="horz"/>
          <a:lstStyle/>
          <a:p>
            <a:r>
              <a:rPr lang="en-IE" sz="3600" dirty="0"/>
              <a:t>Methodological challenges : </a:t>
            </a:r>
            <a:r>
              <a:rPr lang="en-IE" sz="3600" dirty="0" smtClean="0"/>
              <a:t>(3) </a:t>
            </a:r>
            <a:r>
              <a:rPr lang="en-IE" sz="3600" dirty="0"/>
              <a:t>outputs</a:t>
            </a:r>
            <a:endParaRPr lang="en-BE" sz="3600" dirty="0"/>
          </a:p>
        </p:txBody>
      </p:sp>
      <p:sp>
        <p:nvSpPr>
          <p:cNvPr id="198" name="Title 2">
            <a:extLst>
              <a:ext uri="{FF2B5EF4-FFF2-40B4-BE49-F238E27FC236}">
                <a16:creationId xmlns:a16="http://schemas.microsoft.com/office/drawing/2014/main" id="{23244ED8-DB00-4F01-B1C3-58D5A73B0EE9}"/>
              </a:ext>
            </a:extLst>
          </p:cNvPr>
          <p:cNvSpPr txBox="1">
            <a:spLocks/>
          </p:cNvSpPr>
          <p:nvPr/>
        </p:nvSpPr>
        <p:spPr>
          <a:xfrm>
            <a:off x="457200" y="366713"/>
            <a:ext cx="11276013" cy="443198"/>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endParaRPr lang="en-BE"/>
          </a:p>
        </p:txBody>
      </p:sp>
      <p:sp>
        <p:nvSpPr>
          <p:cNvPr id="199" name="TextBox 198">
            <a:extLst>
              <a:ext uri="{FF2B5EF4-FFF2-40B4-BE49-F238E27FC236}">
                <a16:creationId xmlns:a16="http://schemas.microsoft.com/office/drawing/2014/main" id="{586A2C6A-98F0-4546-A582-077FE8F9B2BC}"/>
              </a:ext>
            </a:extLst>
          </p:cNvPr>
          <p:cNvSpPr txBox="1"/>
          <p:nvPr/>
        </p:nvSpPr>
        <p:spPr>
          <a:xfrm>
            <a:off x="1057235" y="1637342"/>
            <a:ext cx="3461204" cy="400110"/>
          </a:xfrm>
          <a:prstGeom prst="rect">
            <a:avLst/>
          </a:prstGeom>
          <a:noFill/>
          <a:ln>
            <a:noFill/>
          </a:ln>
        </p:spPr>
        <p:txBody>
          <a:bodyPr wrap="none" rtlCol="0">
            <a:spAutoFit/>
          </a:bodyPr>
          <a:lstStyle/>
          <a:p>
            <a:pPr algn="ctr" defTabSz="742950">
              <a:defRPr/>
            </a:pPr>
            <a:r>
              <a:rPr lang="en-BE" sz="2000" b="1" kern="0" dirty="0">
                <a:solidFill>
                  <a:srgbClr val="00254C"/>
                </a:solidFill>
              </a:rPr>
              <a:t>1. </a:t>
            </a:r>
            <a:r>
              <a:rPr lang="en-IE" sz="2000" b="1" kern="0" dirty="0" smtClean="0">
                <a:solidFill>
                  <a:srgbClr val="00254C"/>
                </a:solidFill>
              </a:rPr>
              <a:t>Advanced data analytics</a:t>
            </a:r>
            <a:endParaRPr lang="en-BE" sz="2000" b="1" kern="0" dirty="0">
              <a:solidFill>
                <a:srgbClr val="00254C"/>
              </a:solidFill>
            </a:endParaRPr>
          </a:p>
        </p:txBody>
      </p:sp>
      <p:sp>
        <p:nvSpPr>
          <p:cNvPr id="200" name="TextBox 199">
            <a:extLst>
              <a:ext uri="{FF2B5EF4-FFF2-40B4-BE49-F238E27FC236}">
                <a16:creationId xmlns:a16="http://schemas.microsoft.com/office/drawing/2014/main" id="{19540246-EEC1-4560-B685-F7A3928F2692}"/>
              </a:ext>
            </a:extLst>
          </p:cNvPr>
          <p:cNvSpPr txBox="1"/>
          <p:nvPr/>
        </p:nvSpPr>
        <p:spPr>
          <a:xfrm>
            <a:off x="776377" y="2012239"/>
            <a:ext cx="4137105" cy="369332"/>
          </a:xfrm>
          <a:prstGeom prst="rect">
            <a:avLst/>
          </a:prstGeom>
          <a:noFill/>
          <a:ln>
            <a:noFill/>
          </a:ln>
        </p:spPr>
        <p:txBody>
          <a:bodyPr wrap="square" rtlCol="0">
            <a:spAutoFit/>
          </a:bodyPr>
          <a:lstStyle/>
          <a:p>
            <a:pPr lvl="1" fontAlgn="base">
              <a:spcAft>
                <a:spcPct val="0"/>
              </a:spcAft>
              <a:buClr>
                <a:srgbClr val="00529B"/>
              </a:buClr>
              <a:buSzPct val="100000"/>
            </a:pPr>
            <a:r>
              <a:rPr lang="en-IE" dirty="0" smtClean="0"/>
              <a:t>Data insights </a:t>
            </a:r>
            <a:endParaRPr lang="en-BE" dirty="0"/>
          </a:p>
        </p:txBody>
      </p:sp>
      <p:grpSp>
        <p:nvGrpSpPr>
          <p:cNvPr id="209" name="Group 208">
            <a:extLst>
              <a:ext uri="{FF2B5EF4-FFF2-40B4-BE49-F238E27FC236}">
                <a16:creationId xmlns:a16="http://schemas.microsoft.com/office/drawing/2014/main" id="{B6E56B7A-3AC5-43C0-9A20-2CA992729120}"/>
              </a:ext>
            </a:extLst>
          </p:cNvPr>
          <p:cNvGrpSpPr>
            <a:grpSpLocks noChangeAspect="1"/>
          </p:cNvGrpSpPr>
          <p:nvPr/>
        </p:nvGrpSpPr>
        <p:grpSpPr>
          <a:xfrm>
            <a:off x="2766402" y="3290490"/>
            <a:ext cx="1658415" cy="1658415"/>
            <a:chOff x="601033" y="2855912"/>
            <a:chExt cx="2041126" cy="2041126"/>
          </a:xfrm>
        </p:grpSpPr>
        <p:sp>
          <p:nvSpPr>
            <p:cNvPr id="210" name="Circle: Hollow 151">
              <a:extLst>
                <a:ext uri="{FF2B5EF4-FFF2-40B4-BE49-F238E27FC236}">
                  <a16:creationId xmlns:a16="http://schemas.microsoft.com/office/drawing/2014/main" id="{EA0FBA5C-CDF7-43AF-B1F1-583DF48F9F7C}"/>
                </a:ext>
              </a:extLst>
            </p:cNvPr>
            <p:cNvSpPr>
              <a:spLocks noChangeAspect="1"/>
            </p:cNvSpPr>
            <p:nvPr/>
          </p:nvSpPr>
          <p:spPr>
            <a:xfrm>
              <a:off x="763241" y="3018120"/>
              <a:ext cx="1716710" cy="1716710"/>
            </a:xfrm>
            <a:prstGeom prst="donut">
              <a:avLst>
                <a:gd name="adj" fmla="val 7139"/>
              </a:avLst>
            </a:prstGeom>
            <a:solidFill>
              <a:srgbClr val="00254C"/>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11" name="Group 210">
              <a:extLst>
                <a:ext uri="{FF2B5EF4-FFF2-40B4-BE49-F238E27FC236}">
                  <a16:creationId xmlns:a16="http://schemas.microsoft.com/office/drawing/2014/main" id="{D40665D1-DF90-49CB-9074-BFBEF482EA78}"/>
                </a:ext>
              </a:extLst>
            </p:cNvPr>
            <p:cNvGrpSpPr/>
            <p:nvPr/>
          </p:nvGrpSpPr>
          <p:grpSpPr>
            <a:xfrm>
              <a:off x="1534076" y="2855912"/>
              <a:ext cx="175040" cy="2041126"/>
              <a:chOff x="8229799" y="2768458"/>
              <a:chExt cx="175040" cy="2041126"/>
            </a:xfrm>
            <a:solidFill>
              <a:srgbClr val="00254C"/>
            </a:solidFill>
          </p:grpSpPr>
          <p:sp>
            <p:nvSpPr>
              <p:cNvPr id="228" name="Trapezoid 227">
                <a:extLst>
                  <a:ext uri="{FF2B5EF4-FFF2-40B4-BE49-F238E27FC236}">
                    <a16:creationId xmlns:a16="http://schemas.microsoft.com/office/drawing/2014/main" id="{1FC99CE9-3E7F-454D-A6EC-767976D2B58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9" name="Trapezoid 228">
                <a:extLst>
                  <a:ext uri="{FF2B5EF4-FFF2-40B4-BE49-F238E27FC236}">
                    <a16:creationId xmlns:a16="http://schemas.microsoft.com/office/drawing/2014/main" id="{9082AC46-FF41-48D0-9699-FCE371890F2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2" name="Group 211">
              <a:extLst>
                <a:ext uri="{FF2B5EF4-FFF2-40B4-BE49-F238E27FC236}">
                  <a16:creationId xmlns:a16="http://schemas.microsoft.com/office/drawing/2014/main" id="{8E7551BA-1D05-4997-B9AA-B8910209EF46}"/>
                </a:ext>
              </a:extLst>
            </p:cNvPr>
            <p:cNvGrpSpPr/>
            <p:nvPr/>
          </p:nvGrpSpPr>
          <p:grpSpPr>
            <a:xfrm rot="5400000">
              <a:off x="1534076" y="2855912"/>
              <a:ext cx="175040" cy="2041126"/>
              <a:chOff x="8229799" y="2768458"/>
              <a:chExt cx="175040" cy="2041126"/>
            </a:xfrm>
            <a:solidFill>
              <a:srgbClr val="00254C"/>
            </a:solidFill>
          </p:grpSpPr>
          <p:sp>
            <p:nvSpPr>
              <p:cNvPr id="226" name="Trapezoid 225">
                <a:extLst>
                  <a:ext uri="{FF2B5EF4-FFF2-40B4-BE49-F238E27FC236}">
                    <a16:creationId xmlns:a16="http://schemas.microsoft.com/office/drawing/2014/main" id="{3CBC6AB7-E860-451A-A5B3-3E3F2616745E}"/>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7" name="Trapezoid 226">
                <a:extLst>
                  <a:ext uri="{FF2B5EF4-FFF2-40B4-BE49-F238E27FC236}">
                    <a16:creationId xmlns:a16="http://schemas.microsoft.com/office/drawing/2014/main" id="{82B44A42-7F23-4BF9-BD5C-6C9CD70925B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3" name="Group 212">
              <a:extLst>
                <a:ext uri="{FF2B5EF4-FFF2-40B4-BE49-F238E27FC236}">
                  <a16:creationId xmlns:a16="http://schemas.microsoft.com/office/drawing/2014/main" id="{7616840E-4CB8-42B9-95DA-C617F404C528}"/>
                </a:ext>
              </a:extLst>
            </p:cNvPr>
            <p:cNvGrpSpPr/>
            <p:nvPr/>
          </p:nvGrpSpPr>
          <p:grpSpPr>
            <a:xfrm rot="1800000">
              <a:off x="1534077" y="2855912"/>
              <a:ext cx="175040" cy="2041126"/>
              <a:chOff x="8229799" y="2768458"/>
              <a:chExt cx="175040" cy="2041126"/>
            </a:xfrm>
            <a:solidFill>
              <a:srgbClr val="00254C"/>
            </a:solidFill>
          </p:grpSpPr>
          <p:sp>
            <p:nvSpPr>
              <p:cNvPr id="224" name="Trapezoid 223">
                <a:extLst>
                  <a:ext uri="{FF2B5EF4-FFF2-40B4-BE49-F238E27FC236}">
                    <a16:creationId xmlns:a16="http://schemas.microsoft.com/office/drawing/2014/main" id="{91B9F5B1-D96A-465A-8C70-D4C69BF77D7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5" name="Trapezoid 224">
                <a:extLst>
                  <a:ext uri="{FF2B5EF4-FFF2-40B4-BE49-F238E27FC236}">
                    <a16:creationId xmlns:a16="http://schemas.microsoft.com/office/drawing/2014/main" id="{F46BA6AA-F43E-4285-97A4-E9F61A52CA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4" name="Group 213">
              <a:extLst>
                <a:ext uri="{FF2B5EF4-FFF2-40B4-BE49-F238E27FC236}">
                  <a16:creationId xmlns:a16="http://schemas.microsoft.com/office/drawing/2014/main" id="{3D4437D7-8847-4A86-A548-C94E45809C5E}"/>
                </a:ext>
              </a:extLst>
            </p:cNvPr>
            <p:cNvGrpSpPr/>
            <p:nvPr/>
          </p:nvGrpSpPr>
          <p:grpSpPr>
            <a:xfrm rot="3600000">
              <a:off x="1534076" y="2855913"/>
              <a:ext cx="175040" cy="2041126"/>
              <a:chOff x="8229799" y="2768458"/>
              <a:chExt cx="175040" cy="2041126"/>
            </a:xfrm>
            <a:solidFill>
              <a:srgbClr val="00254C"/>
            </a:solidFill>
          </p:grpSpPr>
          <p:sp>
            <p:nvSpPr>
              <p:cNvPr id="222" name="Trapezoid 221">
                <a:extLst>
                  <a:ext uri="{FF2B5EF4-FFF2-40B4-BE49-F238E27FC236}">
                    <a16:creationId xmlns:a16="http://schemas.microsoft.com/office/drawing/2014/main" id="{8868CE96-08CD-4898-88A6-D5731259C02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3" name="Trapezoid 222">
                <a:extLst>
                  <a:ext uri="{FF2B5EF4-FFF2-40B4-BE49-F238E27FC236}">
                    <a16:creationId xmlns:a16="http://schemas.microsoft.com/office/drawing/2014/main" id="{51702920-CDBF-44D7-8C98-CB010C07159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5" name="Group 214">
              <a:extLst>
                <a:ext uri="{FF2B5EF4-FFF2-40B4-BE49-F238E27FC236}">
                  <a16:creationId xmlns:a16="http://schemas.microsoft.com/office/drawing/2014/main" id="{9E726E68-EA77-4B23-9EFE-7A77EEE51B60}"/>
                </a:ext>
              </a:extLst>
            </p:cNvPr>
            <p:cNvGrpSpPr/>
            <p:nvPr/>
          </p:nvGrpSpPr>
          <p:grpSpPr>
            <a:xfrm rot="7200000">
              <a:off x="1534076" y="2855913"/>
              <a:ext cx="175040" cy="2041126"/>
              <a:chOff x="8229799" y="2768458"/>
              <a:chExt cx="175040" cy="2041126"/>
            </a:xfrm>
            <a:solidFill>
              <a:srgbClr val="00254C"/>
            </a:solidFill>
          </p:grpSpPr>
          <p:sp>
            <p:nvSpPr>
              <p:cNvPr id="220" name="Trapezoid 219">
                <a:extLst>
                  <a:ext uri="{FF2B5EF4-FFF2-40B4-BE49-F238E27FC236}">
                    <a16:creationId xmlns:a16="http://schemas.microsoft.com/office/drawing/2014/main" id="{3599D55E-3831-4859-BAFF-868F2BC029C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1" name="Trapezoid 220">
                <a:extLst>
                  <a:ext uri="{FF2B5EF4-FFF2-40B4-BE49-F238E27FC236}">
                    <a16:creationId xmlns:a16="http://schemas.microsoft.com/office/drawing/2014/main" id="{47DDC634-46E1-4D14-A241-2B0D3E02ADEA}"/>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6" name="Group 215">
              <a:extLst>
                <a:ext uri="{FF2B5EF4-FFF2-40B4-BE49-F238E27FC236}">
                  <a16:creationId xmlns:a16="http://schemas.microsoft.com/office/drawing/2014/main" id="{BC32F345-79D6-4B0C-8AA7-B79544576FB8}"/>
                </a:ext>
              </a:extLst>
            </p:cNvPr>
            <p:cNvGrpSpPr/>
            <p:nvPr/>
          </p:nvGrpSpPr>
          <p:grpSpPr>
            <a:xfrm rot="9000000">
              <a:off x="1534077" y="2855912"/>
              <a:ext cx="175040" cy="2041126"/>
              <a:chOff x="8229799" y="2768458"/>
              <a:chExt cx="175040" cy="2041126"/>
            </a:xfrm>
            <a:solidFill>
              <a:srgbClr val="00254C"/>
            </a:solidFill>
          </p:grpSpPr>
          <p:sp>
            <p:nvSpPr>
              <p:cNvPr id="218" name="Trapezoid 217">
                <a:extLst>
                  <a:ext uri="{FF2B5EF4-FFF2-40B4-BE49-F238E27FC236}">
                    <a16:creationId xmlns:a16="http://schemas.microsoft.com/office/drawing/2014/main" id="{4426F5B0-6EF1-4AFD-82F7-841E07CF29F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19" name="Trapezoid 218">
                <a:extLst>
                  <a:ext uri="{FF2B5EF4-FFF2-40B4-BE49-F238E27FC236}">
                    <a16:creationId xmlns:a16="http://schemas.microsoft.com/office/drawing/2014/main" id="{5E91476C-D3E1-4592-9AF2-63D20919182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17" name="Oval 216">
              <a:extLst>
                <a:ext uri="{FF2B5EF4-FFF2-40B4-BE49-F238E27FC236}">
                  <a16:creationId xmlns:a16="http://schemas.microsoft.com/office/drawing/2014/main" id="{9AF38D8F-A717-4C0B-B32E-DB4B315117A8}"/>
                </a:ext>
              </a:extLst>
            </p:cNvPr>
            <p:cNvSpPr>
              <a:spLocks noChangeAspect="1"/>
            </p:cNvSpPr>
            <p:nvPr/>
          </p:nvSpPr>
          <p:spPr>
            <a:xfrm>
              <a:off x="915182" y="3175845"/>
              <a:ext cx="1408186" cy="1408186"/>
            </a:xfrm>
            <a:prstGeom prst="ellipse">
              <a:avLst/>
            </a:prstGeom>
            <a:solidFill>
              <a:srgbClr val="FFFFFF"/>
            </a:solidFill>
            <a:ln w="76200" cap="flat" cmpd="sng" algn="ctr">
              <a:solidFill>
                <a:srgbClr val="00254C">
                  <a:lumMod val="75000"/>
                  <a:lumOff val="2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254C"/>
                </a:solidFill>
                <a:effectLst/>
                <a:uLnTx/>
                <a:uFillTx/>
                <a:latin typeface="Arial"/>
                <a:ea typeface="Arial Unicode MS"/>
                <a:cs typeface="Arial Unicode MS"/>
              </a:endParaRPr>
            </a:p>
          </p:txBody>
        </p:sp>
      </p:grpSp>
      <p:grpSp>
        <p:nvGrpSpPr>
          <p:cNvPr id="230" name="Group 229">
            <a:extLst>
              <a:ext uri="{FF2B5EF4-FFF2-40B4-BE49-F238E27FC236}">
                <a16:creationId xmlns:a16="http://schemas.microsoft.com/office/drawing/2014/main" id="{3A2446FB-B143-44CD-B59C-6F04C8CCD3BF}"/>
              </a:ext>
            </a:extLst>
          </p:cNvPr>
          <p:cNvGrpSpPr/>
          <p:nvPr/>
        </p:nvGrpSpPr>
        <p:grpSpPr>
          <a:xfrm>
            <a:off x="4016597" y="3290490"/>
            <a:ext cx="1658415" cy="1658415"/>
            <a:chOff x="2955023" y="2855911"/>
            <a:chExt cx="2041126" cy="2041126"/>
          </a:xfrm>
        </p:grpSpPr>
        <p:sp>
          <p:nvSpPr>
            <p:cNvPr id="231" name="Circle: Hollow 322">
              <a:extLst>
                <a:ext uri="{FF2B5EF4-FFF2-40B4-BE49-F238E27FC236}">
                  <a16:creationId xmlns:a16="http://schemas.microsoft.com/office/drawing/2014/main" id="{E43ACC71-FAE3-4901-85E2-511C25446312}"/>
                </a:ext>
              </a:extLst>
            </p:cNvPr>
            <p:cNvSpPr>
              <a:spLocks noChangeAspect="1"/>
            </p:cNvSpPr>
            <p:nvPr/>
          </p:nvSpPr>
          <p:spPr>
            <a:xfrm>
              <a:off x="3117231" y="3018119"/>
              <a:ext cx="1716710" cy="1716710"/>
            </a:xfrm>
            <a:prstGeom prst="donut">
              <a:avLst>
                <a:gd name="adj" fmla="val 7139"/>
              </a:avLst>
            </a:prstGeom>
            <a:solidFill>
              <a:srgbClr val="00529B"/>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32" name="Group 231">
              <a:extLst>
                <a:ext uri="{FF2B5EF4-FFF2-40B4-BE49-F238E27FC236}">
                  <a16:creationId xmlns:a16="http://schemas.microsoft.com/office/drawing/2014/main" id="{500F63EA-84CC-4F49-9E44-B06E40C0FB62}"/>
                </a:ext>
              </a:extLst>
            </p:cNvPr>
            <p:cNvGrpSpPr/>
            <p:nvPr/>
          </p:nvGrpSpPr>
          <p:grpSpPr>
            <a:xfrm>
              <a:off x="3888066" y="2855911"/>
              <a:ext cx="175040" cy="2041126"/>
              <a:chOff x="8229799" y="2768458"/>
              <a:chExt cx="175040" cy="2041126"/>
            </a:xfrm>
            <a:solidFill>
              <a:srgbClr val="00529B"/>
            </a:solidFill>
          </p:grpSpPr>
          <p:sp>
            <p:nvSpPr>
              <p:cNvPr id="249" name="Trapezoid 248">
                <a:extLst>
                  <a:ext uri="{FF2B5EF4-FFF2-40B4-BE49-F238E27FC236}">
                    <a16:creationId xmlns:a16="http://schemas.microsoft.com/office/drawing/2014/main" id="{1BBC0C25-3A97-43E2-BE25-C667BC5B938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50" name="Trapezoid 249">
                <a:extLst>
                  <a:ext uri="{FF2B5EF4-FFF2-40B4-BE49-F238E27FC236}">
                    <a16:creationId xmlns:a16="http://schemas.microsoft.com/office/drawing/2014/main" id="{CE8C03ED-A662-4262-AFEB-C1BCFA58C00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3" name="Group 232">
              <a:extLst>
                <a:ext uri="{FF2B5EF4-FFF2-40B4-BE49-F238E27FC236}">
                  <a16:creationId xmlns:a16="http://schemas.microsoft.com/office/drawing/2014/main" id="{02DD4821-9EC6-4C48-8991-F82D301D3D6C}"/>
                </a:ext>
              </a:extLst>
            </p:cNvPr>
            <p:cNvGrpSpPr/>
            <p:nvPr/>
          </p:nvGrpSpPr>
          <p:grpSpPr>
            <a:xfrm rot="5400000">
              <a:off x="3888066" y="2855911"/>
              <a:ext cx="175040" cy="2041126"/>
              <a:chOff x="8229799" y="2768458"/>
              <a:chExt cx="175040" cy="2041126"/>
            </a:xfrm>
            <a:solidFill>
              <a:srgbClr val="00529B"/>
            </a:solidFill>
          </p:grpSpPr>
          <p:sp>
            <p:nvSpPr>
              <p:cNvPr id="247" name="Trapezoid 246">
                <a:extLst>
                  <a:ext uri="{FF2B5EF4-FFF2-40B4-BE49-F238E27FC236}">
                    <a16:creationId xmlns:a16="http://schemas.microsoft.com/office/drawing/2014/main" id="{B276D4BD-AA9A-4CB3-BA95-0B88FFE2374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8" name="Trapezoid 247">
                <a:extLst>
                  <a:ext uri="{FF2B5EF4-FFF2-40B4-BE49-F238E27FC236}">
                    <a16:creationId xmlns:a16="http://schemas.microsoft.com/office/drawing/2014/main" id="{F1890FF8-9DEE-478F-9A6F-35E80668E289}"/>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4" name="Group 233">
              <a:extLst>
                <a:ext uri="{FF2B5EF4-FFF2-40B4-BE49-F238E27FC236}">
                  <a16:creationId xmlns:a16="http://schemas.microsoft.com/office/drawing/2014/main" id="{14CE34E0-89BE-480D-AC51-4E8E49C40491}"/>
                </a:ext>
              </a:extLst>
            </p:cNvPr>
            <p:cNvGrpSpPr/>
            <p:nvPr/>
          </p:nvGrpSpPr>
          <p:grpSpPr>
            <a:xfrm rot="1800000">
              <a:off x="3888067" y="2855911"/>
              <a:ext cx="175040" cy="2041126"/>
              <a:chOff x="8229799" y="2768458"/>
              <a:chExt cx="175040" cy="2041126"/>
            </a:xfrm>
            <a:solidFill>
              <a:srgbClr val="00529B"/>
            </a:solidFill>
          </p:grpSpPr>
          <p:sp>
            <p:nvSpPr>
              <p:cNvPr id="245" name="Trapezoid 244">
                <a:extLst>
                  <a:ext uri="{FF2B5EF4-FFF2-40B4-BE49-F238E27FC236}">
                    <a16:creationId xmlns:a16="http://schemas.microsoft.com/office/drawing/2014/main" id="{04A1AEB4-BCA5-45AD-A899-A458323FD35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6" name="Trapezoid 245">
                <a:extLst>
                  <a:ext uri="{FF2B5EF4-FFF2-40B4-BE49-F238E27FC236}">
                    <a16:creationId xmlns:a16="http://schemas.microsoft.com/office/drawing/2014/main" id="{C71157F0-88C6-4A4E-9757-739346DD5B4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5" name="Group 234">
              <a:extLst>
                <a:ext uri="{FF2B5EF4-FFF2-40B4-BE49-F238E27FC236}">
                  <a16:creationId xmlns:a16="http://schemas.microsoft.com/office/drawing/2014/main" id="{802A2F80-3F2D-43C8-8B24-ECBF301651B8}"/>
                </a:ext>
              </a:extLst>
            </p:cNvPr>
            <p:cNvGrpSpPr/>
            <p:nvPr/>
          </p:nvGrpSpPr>
          <p:grpSpPr>
            <a:xfrm rot="3600000">
              <a:off x="3888066" y="2855912"/>
              <a:ext cx="175040" cy="2041126"/>
              <a:chOff x="8229799" y="2768458"/>
              <a:chExt cx="175040" cy="2041126"/>
            </a:xfrm>
            <a:solidFill>
              <a:srgbClr val="00529B"/>
            </a:solidFill>
          </p:grpSpPr>
          <p:sp>
            <p:nvSpPr>
              <p:cNvPr id="243" name="Trapezoid 242">
                <a:extLst>
                  <a:ext uri="{FF2B5EF4-FFF2-40B4-BE49-F238E27FC236}">
                    <a16:creationId xmlns:a16="http://schemas.microsoft.com/office/drawing/2014/main" id="{1E506D08-A5AD-4CCA-A27C-DB25771BC1E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4" name="Trapezoid 243">
                <a:extLst>
                  <a:ext uri="{FF2B5EF4-FFF2-40B4-BE49-F238E27FC236}">
                    <a16:creationId xmlns:a16="http://schemas.microsoft.com/office/drawing/2014/main" id="{D8343261-DCA5-4E46-BD7D-B175F6F4CF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6" name="Group 235">
              <a:extLst>
                <a:ext uri="{FF2B5EF4-FFF2-40B4-BE49-F238E27FC236}">
                  <a16:creationId xmlns:a16="http://schemas.microsoft.com/office/drawing/2014/main" id="{D148AE05-0E17-4FA1-82BE-67B00486F837}"/>
                </a:ext>
              </a:extLst>
            </p:cNvPr>
            <p:cNvGrpSpPr/>
            <p:nvPr/>
          </p:nvGrpSpPr>
          <p:grpSpPr>
            <a:xfrm rot="7200000">
              <a:off x="3888066" y="2855912"/>
              <a:ext cx="175040" cy="2041126"/>
              <a:chOff x="8229799" y="2768458"/>
              <a:chExt cx="175040" cy="2041126"/>
            </a:xfrm>
            <a:solidFill>
              <a:srgbClr val="00529B"/>
            </a:solidFill>
          </p:grpSpPr>
          <p:sp>
            <p:nvSpPr>
              <p:cNvPr id="241" name="Trapezoid 240">
                <a:extLst>
                  <a:ext uri="{FF2B5EF4-FFF2-40B4-BE49-F238E27FC236}">
                    <a16:creationId xmlns:a16="http://schemas.microsoft.com/office/drawing/2014/main" id="{AB7F23EF-7BE3-4FD9-BEE7-EC95DF4BF33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2" name="Trapezoid 241">
                <a:extLst>
                  <a:ext uri="{FF2B5EF4-FFF2-40B4-BE49-F238E27FC236}">
                    <a16:creationId xmlns:a16="http://schemas.microsoft.com/office/drawing/2014/main" id="{9A877E46-3549-46D2-A892-B4E0B9013382}"/>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7" name="Group 236">
              <a:extLst>
                <a:ext uri="{FF2B5EF4-FFF2-40B4-BE49-F238E27FC236}">
                  <a16:creationId xmlns:a16="http://schemas.microsoft.com/office/drawing/2014/main" id="{B789597B-BD34-4D5B-8749-EDAE2047386C}"/>
                </a:ext>
              </a:extLst>
            </p:cNvPr>
            <p:cNvGrpSpPr/>
            <p:nvPr/>
          </p:nvGrpSpPr>
          <p:grpSpPr>
            <a:xfrm rot="9000000">
              <a:off x="3888067" y="2855911"/>
              <a:ext cx="175040" cy="2041126"/>
              <a:chOff x="8229799" y="2768458"/>
              <a:chExt cx="175040" cy="2041126"/>
            </a:xfrm>
            <a:solidFill>
              <a:srgbClr val="00529B"/>
            </a:solidFill>
          </p:grpSpPr>
          <p:sp>
            <p:nvSpPr>
              <p:cNvPr id="239" name="Trapezoid 238">
                <a:extLst>
                  <a:ext uri="{FF2B5EF4-FFF2-40B4-BE49-F238E27FC236}">
                    <a16:creationId xmlns:a16="http://schemas.microsoft.com/office/drawing/2014/main" id="{4399496A-204F-40A0-A5FF-FD1F5F7159A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0" name="Trapezoid 239">
                <a:extLst>
                  <a:ext uri="{FF2B5EF4-FFF2-40B4-BE49-F238E27FC236}">
                    <a16:creationId xmlns:a16="http://schemas.microsoft.com/office/drawing/2014/main" id="{C3A24BEC-CD56-4B63-B919-9F4AAD51D30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38" name="Oval 237">
              <a:extLst>
                <a:ext uri="{FF2B5EF4-FFF2-40B4-BE49-F238E27FC236}">
                  <a16:creationId xmlns:a16="http://schemas.microsoft.com/office/drawing/2014/main" id="{4466303F-0306-490E-B5FC-E8652B2D2C53}"/>
                </a:ext>
              </a:extLst>
            </p:cNvPr>
            <p:cNvSpPr>
              <a:spLocks noChangeAspect="1"/>
            </p:cNvSpPr>
            <p:nvPr/>
          </p:nvSpPr>
          <p:spPr>
            <a:xfrm>
              <a:off x="3269172" y="3175844"/>
              <a:ext cx="1408186" cy="1408186"/>
            </a:xfrm>
            <a:prstGeom prst="ellipse">
              <a:avLst/>
            </a:prstGeom>
            <a:solidFill>
              <a:srgbClr val="FFFFFF"/>
            </a:solidFill>
            <a:ln w="76200" cap="flat" cmpd="sng" algn="ctr">
              <a:solidFill>
                <a:srgbClr val="00529B">
                  <a:lumMod val="50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529B"/>
                </a:solidFill>
                <a:effectLst/>
                <a:uLnTx/>
                <a:uFillTx/>
                <a:latin typeface="Arial"/>
                <a:ea typeface="Arial Unicode MS"/>
                <a:cs typeface="Arial Unicode MS"/>
              </a:endParaRPr>
            </a:p>
          </p:txBody>
        </p:sp>
      </p:grpSp>
      <p:grpSp>
        <p:nvGrpSpPr>
          <p:cNvPr id="251" name="Group 250">
            <a:extLst>
              <a:ext uri="{FF2B5EF4-FFF2-40B4-BE49-F238E27FC236}">
                <a16:creationId xmlns:a16="http://schemas.microsoft.com/office/drawing/2014/main" id="{C9C4B35E-1F31-4F00-A7C5-FB9A33786BF9}"/>
              </a:ext>
            </a:extLst>
          </p:cNvPr>
          <p:cNvGrpSpPr/>
          <p:nvPr/>
        </p:nvGrpSpPr>
        <p:grpSpPr>
          <a:xfrm>
            <a:off x="5266793" y="3290490"/>
            <a:ext cx="1658415" cy="1658415"/>
            <a:chOff x="5517577" y="2855912"/>
            <a:chExt cx="2041126" cy="2041126"/>
          </a:xfrm>
        </p:grpSpPr>
        <p:sp>
          <p:nvSpPr>
            <p:cNvPr id="252" name="Circle: Hollow 342">
              <a:extLst>
                <a:ext uri="{FF2B5EF4-FFF2-40B4-BE49-F238E27FC236}">
                  <a16:creationId xmlns:a16="http://schemas.microsoft.com/office/drawing/2014/main" id="{FB482B73-6B66-4808-88F4-8F5C4DA765EA}"/>
                </a:ext>
              </a:extLst>
            </p:cNvPr>
            <p:cNvSpPr>
              <a:spLocks noChangeAspect="1"/>
            </p:cNvSpPr>
            <p:nvPr/>
          </p:nvSpPr>
          <p:spPr>
            <a:xfrm>
              <a:off x="5679785" y="3018120"/>
              <a:ext cx="1716710" cy="1716710"/>
            </a:xfrm>
            <a:prstGeom prst="donut">
              <a:avLst>
                <a:gd name="adj" fmla="val 7139"/>
              </a:avLst>
            </a:prstGeom>
            <a:solidFill>
              <a:srgbClr val="00A5E3"/>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53" name="Group 252">
              <a:extLst>
                <a:ext uri="{FF2B5EF4-FFF2-40B4-BE49-F238E27FC236}">
                  <a16:creationId xmlns:a16="http://schemas.microsoft.com/office/drawing/2014/main" id="{96483F95-D137-4BC0-B257-B8F15EC3DCB3}"/>
                </a:ext>
              </a:extLst>
            </p:cNvPr>
            <p:cNvGrpSpPr/>
            <p:nvPr/>
          </p:nvGrpSpPr>
          <p:grpSpPr>
            <a:xfrm>
              <a:off x="6450620" y="2855912"/>
              <a:ext cx="175040" cy="2041126"/>
              <a:chOff x="8229799" y="2768458"/>
              <a:chExt cx="175040" cy="2041126"/>
            </a:xfrm>
            <a:solidFill>
              <a:srgbClr val="00A5E3"/>
            </a:solidFill>
          </p:grpSpPr>
          <p:sp>
            <p:nvSpPr>
              <p:cNvPr id="270" name="Trapezoid 269">
                <a:extLst>
                  <a:ext uri="{FF2B5EF4-FFF2-40B4-BE49-F238E27FC236}">
                    <a16:creationId xmlns:a16="http://schemas.microsoft.com/office/drawing/2014/main" id="{F289C1F2-885C-4BFA-8D06-84880AF01D28}"/>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71" name="Trapezoid 270">
                <a:extLst>
                  <a:ext uri="{FF2B5EF4-FFF2-40B4-BE49-F238E27FC236}">
                    <a16:creationId xmlns:a16="http://schemas.microsoft.com/office/drawing/2014/main" id="{24CF4381-0AAD-45D7-8BFE-7FF7BAD3F81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4" name="Group 253">
              <a:extLst>
                <a:ext uri="{FF2B5EF4-FFF2-40B4-BE49-F238E27FC236}">
                  <a16:creationId xmlns:a16="http://schemas.microsoft.com/office/drawing/2014/main" id="{F859D88C-EAB4-48D0-A6B7-72FB77EA6F39}"/>
                </a:ext>
              </a:extLst>
            </p:cNvPr>
            <p:cNvGrpSpPr/>
            <p:nvPr/>
          </p:nvGrpSpPr>
          <p:grpSpPr>
            <a:xfrm rot="5400000">
              <a:off x="6450620" y="2855912"/>
              <a:ext cx="175040" cy="2041126"/>
              <a:chOff x="8229799" y="2768458"/>
              <a:chExt cx="175040" cy="2041126"/>
            </a:xfrm>
            <a:solidFill>
              <a:srgbClr val="00A5E3"/>
            </a:solidFill>
          </p:grpSpPr>
          <p:sp>
            <p:nvSpPr>
              <p:cNvPr id="268" name="Trapezoid 267">
                <a:extLst>
                  <a:ext uri="{FF2B5EF4-FFF2-40B4-BE49-F238E27FC236}">
                    <a16:creationId xmlns:a16="http://schemas.microsoft.com/office/drawing/2014/main" id="{35FA2597-7D7A-4D5B-B4E3-B1D056A2606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9" name="Trapezoid 268">
                <a:extLst>
                  <a:ext uri="{FF2B5EF4-FFF2-40B4-BE49-F238E27FC236}">
                    <a16:creationId xmlns:a16="http://schemas.microsoft.com/office/drawing/2014/main" id="{1826CF79-4A0C-4480-895C-FF04C75A54B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5" name="Group 254">
              <a:extLst>
                <a:ext uri="{FF2B5EF4-FFF2-40B4-BE49-F238E27FC236}">
                  <a16:creationId xmlns:a16="http://schemas.microsoft.com/office/drawing/2014/main" id="{B9B5636F-1815-4546-AC95-9F64FFF3C66C}"/>
                </a:ext>
              </a:extLst>
            </p:cNvPr>
            <p:cNvGrpSpPr/>
            <p:nvPr/>
          </p:nvGrpSpPr>
          <p:grpSpPr>
            <a:xfrm rot="1800000">
              <a:off x="6450621" y="2855912"/>
              <a:ext cx="175040" cy="2041126"/>
              <a:chOff x="8229799" y="2768458"/>
              <a:chExt cx="175040" cy="2041126"/>
            </a:xfrm>
            <a:solidFill>
              <a:srgbClr val="00A5E3"/>
            </a:solidFill>
          </p:grpSpPr>
          <p:sp>
            <p:nvSpPr>
              <p:cNvPr id="266" name="Trapezoid 265">
                <a:extLst>
                  <a:ext uri="{FF2B5EF4-FFF2-40B4-BE49-F238E27FC236}">
                    <a16:creationId xmlns:a16="http://schemas.microsoft.com/office/drawing/2014/main" id="{EE8AE4AD-A223-4E1B-A09F-333F7DC791A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7" name="Trapezoid 266">
                <a:extLst>
                  <a:ext uri="{FF2B5EF4-FFF2-40B4-BE49-F238E27FC236}">
                    <a16:creationId xmlns:a16="http://schemas.microsoft.com/office/drawing/2014/main" id="{FB2FAF06-4A98-4560-A80C-CDEB6E42100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6" name="Group 255">
              <a:extLst>
                <a:ext uri="{FF2B5EF4-FFF2-40B4-BE49-F238E27FC236}">
                  <a16:creationId xmlns:a16="http://schemas.microsoft.com/office/drawing/2014/main" id="{45F260AB-68AD-4E95-AD44-D0D4AC8FE16D}"/>
                </a:ext>
              </a:extLst>
            </p:cNvPr>
            <p:cNvGrpSpPr/>
            <p:nvPr/>
          </p:nvGrpSpPr>
          <p:grpSpPr>
            <a:xfrm rot="3600000">
              <a:off x="6450620" y="2855913"/>
              <a:ext cx="175040" cy="2041126"/>
              <a:chOff x="8229799" y="2768458"/>
              <a:chExt cx="175040" cy="2041126"/>
            </a:xfrm>
            <a:solidFill>
              <a:srgbClr val="00A5E3"/>
            </a:solidFill>
          </p:grpSpPr>
          <p:sp>
            <p:nvSpPr>
              <p:cNvPr id="264" name="Trapezoid 263">
                <a:extLst>
                  <a:ext uri="{FF2B5EF4-FFF2-40B4-BE49-F238E27FC236}">
                    <a16:creationId xmlns:a16="http://schemas.microsoft.com/office/drawing/2014/main" id="{2F576CE6-C7F8-455B-ADE2-C36E730BB66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5" name="Trapezoid 264">
                <a:extLst>
                  <a:ext uri="{FF2B5EF4-FFF2-40B4-BE49-F238E27FC236}">
                    <a16:creationId xmlns:a16="http://schemas.microsoft.com/office/drawing/2014/main" id="{1C5068E5-998E-425C-973B-7E282C81BA13}"/>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7" name="Group 256">
              <a:extLst>
                <a:ext uri="{FF2B5EF4-FFF2-40B4-BE49-F238E27FC236}">
                  <a16:creationId xmlns:a16="http://schemas.microsoft.com/office/drawing/2014/main" id="{F4354415-D96C-4406-8E32-E4B4B003F066}"/>
                </a:ext>
              </a:extLst>
            </p:cNvPr>
            <p:cNvGrpSpPr/>
            <p:nvPr/>
          </p:nvGrpSpPr>
          <p:grpSpPr>
            <a:xfrm rot="7200000">
              <a:off x="6450620" y="2855913"/>
              <a:ext cx="175040" cy="2041126"/>
              <a:chOff x="8229799" y="2768458"/>
              <a:chExt cx="175040" cy="2041126"/>
            </a:xfrm>
            <a:solidFill>
              <a:srgbClr val="00A5E3"/>
            </a:solidFill>
          </p:grpSpPr>
          <p:sp>
            <p:nvSpPr>
              <p:cNvPr id="262" name="Trapezoid 261">
                <a:extLst>
                  <a:ext uri="{FF2B5EF4-FFF2-40B4-BE49-F238E27FC236}">
                    <a16:creationId xmlns:a16="http://schemas.microsoft.com/office/drawing/2014/main" id="{D21F1152-91F1-4881-B865-6A9B402BA1E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3" name="Trapezoid 262">
                <a:extLst>
                  <a:ext uri="{FF2B5EF4-FFF2-40B4-BE49-F238E27FC236}">
                    <a16:creationId xmlns:a16="http://schemas.microsoft.com/office/drawing/2014/main" id="{EC74F657-6051-4C4E-84E6-7721738D9F5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8" name="Group 257">
              <a:extLst>
                <a:ext uri="{FF2B5EF4-FFF2-40B4-BE49-F238E27FC236}">
                  <a16:creationId xmlns:a16="http://schemas.microsoft.com/office/drawing/2014/main" id="{C2E80D97-7560-4B52-BF31-0FB765394F5D}"/>
                </a:ext>
              </a:extLst>
            </p:cNvPr>
            <p:cNvGrpSpPr/>
            <p:nvPr/>
          </p:nvGrpSpPr>
          <p:grpSpPr>
            <a:xfrm rot="9000000">
              <a:off x="6450621" y="2855912"/>
              <a:ext cx="175040" cy="2041126"/>
              <a:chOff x="8229799" y="2768458"/>
              <a:chExt cx="175040" cy="2041126"/>
            </a:xfrm>
            <a:solidFill>
              <a:srgbClr val="00A5E3"/>
            </a:solidFill>
          </p:grpSpPr>
          <p:sp>
            <p:nvSpPr>
              <p:cNvPr id="260" name="Trapezoid 259">
                <a:extLst>
                  <a:ext uri="{FF2B5EF4-FFF2-40B4-BE49-F238E27FC236}">
                    <a16:creationId xmlns:a16="http://schemas.microsoft.com/office/drawing/2014/main" id="{AECF15D1-BC3B-4ED7-8F4B-56B030AC0FFB}"/>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1" name="Trapezoid 260">
                <a:extLst>
                  <a:ext uri="{FF2B5EF4-FFF2-40B4-BE49-F238E27FC236}">
                    <a16:creationId xmlns:a16="http://schemas.microsoft.com/office/drawing/2014/main" id="{EFD49C64-45C5-4D4B-8280-09CF817D077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59" name="Oval 258">
              <a:extLst>
                <a:ext uri="{FF2B5EF4-FFF2-40B4-BE49-F238E27FC236}">
                  <a16:creationId xmlns:a16="http://schemas.microsoft.com/office/drawing/2014/main" id="{6A27A884-8FBA-4BD2-96F5-DDFF3F2A6F50}"/>
                </a:ext>
              </a:extLst>
            </p:cNvPr>
            <p:cNvSpPr>
              <a:spLocks noChangeAspect="1"/>
            </p:cNvSpPr>
            <p:nvPr/>
          </p:nvSpPr>
          <p:spPr>
            <a:xfrm>
              <a:off x="5831726" y="3175845"/>
              <a:ext cx="1408186" cy="1408186"/>
            </a:xfrm>
            <a:prstGeom prst="ellipse">
              <a:avLst/>
            </a:prstGeom>
            <a:solidFill>
              <a:srgbClr val="FFFFFF"/>
            </a:solidFill>
            <a:ln w="76200" cap="flat" cmpd="sng" algn="ctr">
              <a:solidFill>
                <a:srgbClr val="00A5E3">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A5E3"/>
                </a:solidFill>
                <a:effectLst/>
                <a:uLnTx/>
                <a:uFillTx/>
                <a:latin typeface="Arial"/>
                <a:ea typeface="Arial Unicode MS"/>
                <a:cs typeface="Arial Unicode MS"/>
              </a:endParaRPr>
            </a:p>
          </p:txBody>
        </p:sp>
      </p:grpSp>
      <p:grpSp>
        <p:nvGrpSpPr>
          <p:cNvPr id="272" name="Group 271">
            <a:extLst>
              <a:ext uri="{FF2B5EF4-FFF2-40B4-BE49-F238E27FC236}">
                <a16:creationId xmlns:a16="http://schemas.microsoft.com/office/drawing/2014/main" id="{006E3EF0-D586-47E7-803A-F7A242A4F0A9}"/>
              </a:ext>
            </a:extLst>
          </p:cNvPr>
          <p:cNvGrpSpPr/>
          <p:nvPr/>
        </p:nvGrpSpPr>
        <p:grpSpPr>
          <a:xfrm>
            <a:off x="6516988" y="3290490"/>
            <a:ext cx="1658415" cy="1658415"/>
            <a:chOff x="7964592" y="2855911"/>
            <a:chExt cx="2041126" cy="2041126"/>
          </a:xfrm>
        </p:grpSpPr>
        <p:sp>
          <p:nvSpPr>
            <p:cNvPr id="273" name="Circle: Hollow 362">
              <a:extLst>
                <a:ext uri="{FF2B5EF4-FFF2-40B4-BE49-F238E27FC236}">
                  <a16:creationId xmlns:a16="http://schemas.microsoft.com/office/drawing/2014/main" id="{F1E7AA97-8193-4967-A14B-6D88CFB95D9A}"/>
                </a:ext>
              </a:extLst>
            </p:cNvPr>
            <p:cNvSpPr>
              <a:spLocks noChangeAspect="1"/>
            </p:cNvSpPr>
            <p:nvPr/>
          </p:nvSpPr>
          <p:spPr>
            <a:xfrm>
              <a:off x="8126800" y="3018119"/>
              <a:ext cx="1716710" cy="1716710"/>
            </a:xfrm>
            <a:prstGeom prst="donut">
              <a:avLst>
                <a:gd name="adj" fmla="val 7139"/>
              </a:avLst>
            </a:prstGeom>
            <a:solidFill>
              <a:srgbClr val="66C9EE"/>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74" name="Group 273">
              <a:extLst>
                <a:ext uri="{FF2B5EF4-FFF2-40B4-BE49-F238E27FC236}">
                  <a16:creationId xmlns:a16="http://schemas.microsoft.com/office/drawing/2014/main" id="{7D823496-D29C-480B-A4B8-F65D24B23AA2}"/>
                </a:ext>
              </a:extLst>
            </p:cNvPr>
            <p:cNvGrpSpPr/>
            <p:nvPr/>
          </p:nvGrpSpPr>
          <p:grpSpPr>
            <a:xfrm>
              <a:off x="8897635" y="2855911"/>
              <a:ext cx="175040" cy="2041126"/>
              <a:chOff x="8229799" y="2768458"/>
              <a:chExt cx="175040" cy="2041126"/>
            </a:xfrm>
            <a:solidFill>
              <a:srgbClr val="66C9EE"/>
            </a:solidFill>
          </p:grpSpPr>
          <p:sp>
            <p:nvSpPr>
              <p:cNvPr id="291" name="Trapezoid 290">
                <a:extLst>
                  <a:ext uri="{FF2B5EF4-FFF2-40B4-BE49-F238E27FC236}">
                    <a16:creationId xmlns:a16="http://schemas.microsoft.com/office/drawing/2014/main" id="{23989E1E-2551-4E76-AA05-97834E2E809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2" name="Trapezoid 291">
                <a:extLst>
                  <a:ext uri="{FF2B5EF4-FFF2-40B4-BE49-F238E27FC236}">
                    <a16:creationId xmlns:a16="http://schemas.microsoft.com/office/drawing/2014/main" id="{141F551E-D52B-4D93-9E5A-9607542C36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5" name="Group 274">
              <a:extLst>
                <a:ext uri="{FF2B5EF4-FFF2-40B4-BE49-F238E27FC236}">
                  <a16:creationId xmlns:a16="http://schemas.microsoft.com/office/drawing/2014/main" id="{38D44D16-4026-4D21-9EEB-88ED9F6A563B}"/>
                </a:ext>
              </a:extLst>
            </p:cNvPr>
            <p:cNvGrpSpPr/>
            <p:nvPr/>
          </p:nvGrpSpPr>
          <p:grpSpPr>
            <a:xfrm rot="5400000">
              <a:off x="8897635" y="2855911"/>
              <a:ext cx="175040" cy="2041126"/>
              <a:chOff x="8229799" y="2768458"/>
              <a:chExt cx="175040" cy="2041126"/>
            </a:xfrm>
            <a:solidFill>
              <a:srgbClr val="66C9EE"/>
            </a:solidFill>
          </p:grpSpPr>
          <p:sp>
            <p:nvSpPr>
              <p:cNvPr id="289" name="Trapezoid 288">
                <a:extLst>
                  <a:ext uri="{FF2B5EF4-FFF2-40B4-BE49-F238E27FC236}">
                    <a16:creationId xmlns:a16="http://schemas.microsoft.com/office/drawing/2014/main" id="{D7F08A54-0E98-44A0-8FFB-1E646F17824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0" name="Trapezoid 289">
                <a:extLst>
                  <a:ext uri="{FF2B5EF4-FFF2-40B4-BE49-F238E27FC236}">
                    <a16:creationId xmlns:a16="http://schemas.microsoft.com/office/drawing/2014/main" id="{2A259190-B785-4AE8-890D-32942400AEFF}"/>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6" name="Group 275">
              <a:extLst>
                <a:ext uri="{FF2B5EF4-FFF2-40B4-BE49-F238E27FC236}">
                  <a16:creationId xmlns:a16="http://schemas.microsoft.com/office/drawing/2014/main" id="{70D03D45-4FD9-4747-8ADA-710B505E6CEB}"/>
                </a:ext>
              </a:extLst>
            </p:cNvPr>
            <p:cNvGrpSpPr/>
            <p:nvPr/>
          </p:nvGrpSpPr>
          <p:grpSpPr>
            <a:xfrm rot="1800000">
              <a:off x="8897636" y="2855911"/>
              <a:ext cx="175040" cy="2041126"/>
              <a:chOff x="8229799" y="2768458"/>
              <a:chExt cx="175040" cy="2041126"/>
            </a:xfrm>
            <a:solidFill>
              <a:srgbClr val="66C9EE"/>
            </a:solidFill>
          </p:grpSpPr>
          <p:sp>
            <p:nvSpPr>
              <p:cNvPr id="287" name="Trapezoid 286">
                <a:extLst>
                  <a:ext uri="{FF2B5EF4-FFF2-40B4-BE49-F238E27FC236}">
                    <a16:creationId xmlns:a16="http://schemas.microsoft.com/office/drawing/2014/main" id="{4A1FD89D-58DA-4B99-8E21-DC774C5A85E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8" name="Trapezoid 287">
                <a:extLst>
                  <a:ext uri="{FF2B5EF4-FFF2-40B4-BE49-F238E27FC236}">
                    <a16:creationId xmlns:a16="http://schemas.microsoft.com/office/drawing/2014/main" id="{6A770388-048A-4031-95EA-E99401CBE7C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7" name="Group 276">
              <a:extLst>
                <a:ext uri="{FF2B5EF4-FFF2-40B4-BE49-F238E27FC236}">
                  <a16:creationId xmlns:a16="http://schemas.microsoft.com/office/drawing/2014/main" id="{82D3600F-8F1B-4058-BD1F-D546D1F6DB7F}"/>
                </a:ext>
              </a:extLst>
            </p:cNvPr>
            <p:cNvGrpSpPr/>
            <p:nvPr/>
          </p:nvGrpSpPr>
          <p:grpSpPr>
            <a:xfrm rot="3600000">
              <a:off x="8897635" y="2855912"/>
              <a:ext cx="175040" cy="2041126"/>
              <a:chOff x="8229799" y="2768458"/>
              <a:chExt cx="175040" cy="2041126"/>
            </a:xfrm>
            <a:solidFill>
              <a:srgbClr val="66C9EE"/>
            </a:solidFill>
          </p:grpSpPr>
          <p:sp>
            <p:nvSpPr>
              <p:cNvPr id="285" name="Trapezoid 284">
                <a:extLst>
                  <a:ext uri="{FF2B5EF4-FFF2-40B4-BE49-F238E27FC236}">
                    <a16:creationId xmlns:a16="http://schemas.microsoft.com/office/drawing/2014/main" id="{F7A504F5-0A9C-4F4E-8EDD-18CA3F5EBC4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6" name="Trapezoid 285">
                <a:extLst>
                  <a:ext uri="{FF2B5EF4-FFF2-40B4-BE49-F238E27FC236}">
                    <a16:creationId xmlns:a16="http://schemas.microsoft.com/office/drawing/2014/main" id="{9810034B-6622-44C0-A348-DA791796AC1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8" name="Group 277">
              <a:extLst>
                <a:ext uri="{FF2B5EF4-FFF2-40B4-BE49-F238E27FC236}">
                  <a16:creationId xmlns:a16="http://schemas.microsoft.com/office/drawing/2014/main" id="{80EAE1E0-ABE2-454A-BAE1-6873CECADC8A}"/>
                </a:ext>
              </a:extLst>
            </p:cNvPr>
            <p:cNvGrpSpPr/>
            <p:nvPr/>
          </p:nvGrpSpPr>
          <p:grpSpPr>
            <a:xfrm rot="7200000">
              <a:off x="8897635" y="2855912"/>
              <a:ext cx="175040" cy="2041126"/>
              <a:chOff x="8229799" y="2768458"/>
              <a:chExt cx="175040" cy="2041126"/>
            </a:xfrm>
            <a:solidFill>
              <a:srgbClr val="66C9EE"/>
            </a:solidFill>
          </p:grpSpPr>
          <p:sp>
            <p:nvSpPr>
              <p:cNvPr id="283" name="Trapezoid 282">
                <a:extLst>
                  <a:ext uri="{FF2B5EF4-FFF2-40B4-BE49-F238E27FC236}">
                    <a16:creationId xmlns:a16="http://schemas.microsoft.com/office/drawing/2014/main" id="{C8D6490E-CA8F-4DEE-90D0-65B48B801F71}"/>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4" name="Trapezoid 283">
                <a:extLst>
                  <a:ext uri="{FF2B5EF4-FFF2-40B4-BE49-F238E27FC236}">
                    <a16:creationId xmlns:a16="http://schemas.microsoft.com/office/drawing/2014/main" id="{6BE64EE0-8748-4DA9-B643-ACD2B23450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9" name="Group 278">
              <a:extLst>
                <a:ext uri="{FF2B5EF4-FFF2-40B4-BE49-F238E27FC236}">
                  <a16:creationId xmlns:a16="http://schemas.microsoft.com/office/drawing/2014/main" id="{CD5EC0DD-5261-4298-8FAA-F7FC4B62367E}"/>
                </a:ext>
              </a:extLst>
            </p:cNvPr>
            <p:cNvGrpSpPr/>
            <p:nvPr/>
          </p:nvGrpSpPr>
          <p:grpSpPr>
            <a:xfrm rot="9000000">
              <a:off x="8897636" y="2855911"/>
              <a:ext cx="175040" cy="2041126"/>
              <a:chOff x="8229799" y="2768458"/>
              <a:chExt cx="175040" cy="2041126"/>
            </a:xfrm>
            <a:solidFill>
              <a:srgbClr val="66C9EE"/>
            </a:solidFill>
          </p:grpSpPr>
          <p:sp>
            <p:nvSpPr>
              <p:cNvPr id="281" name="Trapezoid 280">
                <a:extLst>
                  <a:ext uri="{FF2B5EF4-FFF2-40B4-BE49-F238E27FC236}">
                    <a16:creationId xmlns:a16="http://schemas.microsoft.com/office/drawing/2014/main" id="{CE0CA519-B72B-4881-9B44-8DB4382A8563}"/>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2" name="Trapezoid 281">
                <a:extLst>
                  <a:ext uri="{FF2B5EF4-FFF2-40B4-BE49-F238E27FC236}">
                    <a16:creationId xmlns:a16="http://schemas.microsoft.com/office/drawing/2014/main" id="{E7977456-F1DB-4EEB-9079-4585629E4A2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80" name="Oval 279">
              <a:extLst>
                <a:ext uri="{FF2B5EF4-FFF2-40B4-BE49-F238E27FC236}">
                  <a16:creationId xmlns:a16="http://schemas.microsoft.com/office/drawing/2014/main" id="{5FA317CC-2335-4C89-91BB-8DF93E3F920F}"/>
                </a:ext>
              </a:extLst>
            </p:cNvPr>
            <p:cNvSpPr>
              <a:spLocks noChangeAspect="1"/>
            </p:cNvSpPr>
            <p:nvPr/>
          </p:nvSpPr>
          <p:spPr>
            <a:xfrm>
              <a:off x="8278741" y="3175844"/>
              <a:ext cx="1408186" cy="1408186"/>
            </a:xfrm>
            <a:prstGeom prst="ellipse">
              <a:avLst/>
            </a:prstGeom>
            <a:solidFill>
              <a:srgbClr val="FFFFFF"/>
            </a:solidFill>
            <a:ln w="76200" cap="flat" cmpd="sng" algn="ctr">
              <a:solidFill>
                <a:srgbClr val="66C9EE">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66C9EE"/>
                </a:solidFill>
                <a:effectLst/>
                <a:uLnTx/>
                <a:uFillTx/>
                <a:latin typeface="Arial"/>
                <a:ea typeface="Arial Unicode MS"/>
                <a:cs typeface="Arial Unicode MS"/>
              </a:endParaRPr>
            </a:p>
          </p:txBody>
        </p:sp>
      </p:grpSp>
      <p:sp>
        <p:nvSpPr>
          <p:cNvPr id="314" name="Arc 313">
            <a:extLst>
              <a:ext uri="{FF2B5EF4-FFF2-40B4-BE49-F238E27FC236}">
                <a16:creationId xmlns:a16="http://schemas.microsoft.com/office/drawing/2014/main" id="{74B269B8-4FA6-4297-80FB-6BB753809CBB}"/>
              </a:ext>
            </a:extLst>
          </p:cNvPr>
          <p:cNvSpPr/>
          <p:nvPr/>
        </p:nvSpPr>
        <p:spPr>
          <a:xfrm>
            <a:off x="2997345"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5" name="Arc 314">
            <a:extLst>
              <a:ext uri="{FF2B5EF4-FFF2-40B4-BE49-F238E27FC236}">
                <a16:creationId xmlns:a16="http://schemas.microsoft.com/office/drawing/2014/main" id="{86886464-AF17-419C-B629-F51CF76ABCF1}"/>
              </a:ext>
            </a:extLst>
          </p:cNvPr>
          <p:cNvSpPr/>
          <p:nvPr/>
        </p:nvSpPr>
        <p:spPr>
          <a:xfrm>
            <a:off x="5496020"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7" name="Arc 316">
            <a:extLst>
              <a:ext uri="{FF2B5EF4-FFF2-40B4-BE49-F238E27FC236}">
                <a16:creationId xmlns:a16="http://schemas.microsoft.com/office/drawing/2014/main" id="{54509321-67DA-4B61-A376-0A1A543DD867}"/>
              </a:ext>
            </a:extLst>
          </p:cNvPr>
          <p:cNvSpPr/>
          <p:nvPr/>
        </p:nvSpPr>
        <p:spPr>
          <a:xfrm rot="10800000">
            <a:off x="6715288"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8" name="Arc 317">
            <a:extLst>
              <a:ext uri="{FF2B5EF4-FFF2-40B4-BE49-F238E27FC236}">
                <a16:creationId xmlns:a16="http://schemas.microsoft.com/office/drawing/2014/main" id="{B91877CD-760B-4F1C-B2DD-10ADF01E3767}"/>
              </a:ext>
            </a:extLst>
          </p:cNvPr>
          <p:cNvSpPr/>
          <p:nvPr/>
        </p:nvSpPr>
        <p:spPr>
          <a:xfrm rot="10800000">
            <a:off x="4216612"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88" name="Caution" descr="{&quot;Key&quot;:&quot;POWER_USER_SHAPE_ICON&quot;,&quot;Value&quot;:&quot;POWER_USER_SHAPE_ICON_STYLE_1&quot;}">
            <a:extLst>
              <a:ext uri="{FF2B5EF4-FFF2-40B4-BE49-F238E27FC236}">
                <a16:creationId xmlns:a16="http://schemas.microsoft.com/office/drawing/2014/main" id="{27EE0F9A-2AA8-4DE9-9220-76298582088D}"/>
              </a:ext>
            </a:extLst>
          </p:cNvPr>
          <p:cNvSpPr>
            <a:spLocks noChangeAspect="1"/>
          </p:cNvSpPr>
          <p:nvPr/>
        </p:nvSpPr>
        <p:spPr>
          <a:xfrm>
            <a:off x="4530908" y="3792819"/>
            <a:ext cx="629793" cy="542925"/>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white"/>
              </a:solidFill>
              <a:effectLst/>
              <a:uLnTx/>
              <a:uFillTx/>
              <a:latin typeface="Calibri" panose="020F0502020204030204"/>
              <a:ea typeface="+mn-ea"/>
              <a:cs typeface="+mn-cs"/>
            </a:endParaRPr>
          </a:p>
        </p:txBody>
      </p:sp>
      <p:sp>
        <p:nvSpPr>
          <p:cNvPr id="149" name="TextBox 148">
            <a:extLst>
              <a:ext uri="{FF2B5EF4-FFF2-40B4-BE49-F238E27FC236}">
                <a16:creationId xmlns:a16="http://schemas.microsoft.com/office/drawing/2014/main" id="{586A2C6A-98F0-4546-A582-077FE8F9B2BC}"/>
              </a:ext>
            </a:extLst>
          </p:cNvPr>
          <p:cNvSpPr txBox="1"/>
          <p:nvPr/>
        </p:nvSpPr>
        <p:spPr>
          <a:xfrm>
            <a:off x="2924732" y="5361049"/>
            <a:ext cx="3230372" cy="400110"/>
          </a:xfrm>
          <a:prstGeom prst="rect">
            <a:avLst/>
          </a:prstGeom>
          <a:noFill/>
          <a:ln>
            <a:noFill/>
          </a:ln>
        </p:spPr>
        <p:txBody>
          <a:bodyPr wrap="none" rtlCol="0">
            <a:spAutoFit/>
          </a:bodyPr>
          <a:lstStyle/>
          <a:p>
            <a:pPr algn="ctr" defTabSz="742950">
              <a:defRPr/>
            </a:pPr>
            <a:r>
              <a:rPr lang="en-IE" sz="2000" b="1" kern="0" dirty="0">
                <a:solidFill>
                  <a:srgbClr val="00254C"/>
                </a:solidFill>
              </a:rPr>
              <a:t>2</a:t>
            </a:r>
            <a:r>
              <a:rPr lang="en-BE" sz="2000" b="1" kern="0" dirty="0" smtClean="0">
                <a:solidFill>
                  <a:srgbClr val="00254C"/>
                </a:solidFill>
              </a:rPr>
              <a:t>. </a:t>
            </a:r>
            <a:r>
              <a:rPr lang="en-IE" sz="2000" b="1" kern="0" dirty="0" smtClean="0">
                <a:solidFill>
                  <a:srgbClr val="00254C"/>
                </a:solidFill>
              </a:rPr>
              <a:t>Dynamic visualisation </a:t>
            </a:r>
            <a:endParaRPr lang="en-BE" sz="2000" b="1" kern="0" dirty="0">
              <a:solidFill>
                <a:srgbClr val="00254C"/>
              </a:solidFill>
            </a:endParaRPr>
          </a:p>
        </p:txBody>
      </p:sp>
      <p:sp>
        <p:nvSpPr>
          <p:cNvPr id="150" name="TextBox 149">
            <a:extLst>
              <a:ext uri="{FF2B5EF4-FFF2-40B4-BE49-F238E27FC236}">
                <a16:creationId xmlns:a16="http://schemas.microsoft.com/office/drawing/2014/main" id="{19540246-EEC1-4560-B685-F7A3928F2692}"/>
              </a:ext>
            </a:extLst>
          </p:cNvPr>
          <p:cNvSpPr txBox="1"/>
          <p:nvPr/>
        </p:nvSpPr>
        <p:spPr>
          <a:xfrm>
            <a:off x="2997345" y="5734188"/>
            <a:ext cx="3305858" cy="646331"/>
          </a:xfrm>
          <a:prstGeom prst="rect">
            <a:avLst/>
          </a:prstGeom>
          <a:noFill/>
          <a:ln>
            <a:noFill/>
          </a:ln>
        </p:spPr>
        <p:txBody>
          <a:bodyPr wrap="square" rtlCol="0">
            <a:spAutoFit/>
          </a:bodyPr>
          <a:lstStyle/>
          <a:p>
            <a:pPr lvl="1"/>
            <a:r>
              <a:rPr lang="en-IE" dirty="0" smtClean="0"/>
              <a:t>Tailorable et evolvable products</a:t>
            </a:r>
            <a:endParaRPr lang="en-IE" dirty="0"/>
          </a:p>
        </p:txBody>
      </p:sp>
      <p:sp>
        <p:nvSpPr>
          <p:cNvPr id="153" name="TextBox 152">
            <a:extLst>
              <a:ext uri="{FF2B5EF4-FFF2-40B4-BE49-F238E27FC236}">
                <a16:creationId xmlns:a16="http://schemas.microsoft.com/office/drawing/2014/main" id="{586A2C6A-98F0-4546-A582-077FE8F9B2BC}"/>
              </a:ext>
            </a:extLst>
          </p:cNvPr>
          <p:cNvSpPr txBox="1"/>
          <p:nvPr/>
        </p:nvSpPr>
        <p:spPr>
          <a:xfrm>
            <a:off x="4723648" y="1631982"/>
            <a:ext cx="3257623" cy="400110"/>
          </a:xfrm>
          <a:prstGeom prst="rect">
            <a:avLst/>
          </a:prstGeom>
          <a:noFill/>
          <a:ln>
            <a:noFill/>
          </a:ln>
        </p:spPr>
        <p:txBody>
          <a:bodyPr wrap="none" rtlCol="0">
            <a:spAutoFit/>
          </a:bodyPr>
          <a:lstStyle/>
          <a:p>
            <a:pPr algn="ctr" defTabSz="742950">
              <a:defRPr/>
            </a:pPr>
            <a:r>
              <a:rPr lang="en-IE" sz="2000" b="1" kern="0" dirty="0" smtClean="0">
                <a:solidFill>
                  <a:srgbClr val="00254C"/>
                </a:solidFill>
              </a:rPr>
              <a:t>3</a:t>
            </a:r>
            <a:r>
              <a:rPr lang="en-BE" sz="2000" b="1" kern="0" dirty="0" smtClean="0">
                <a:solidFill>
                  <a:srgbClr val="00254C"/>
                </a:solidFill>
              </a:rPr>
              <a:t>. </a:t>
            </a:r>
            <a:r>
              <a:rPr lang="en-IE" sz="2000" b="1" kern="0" dirty="0" smtClean="0">
                <a:solidFill>
                  <a:srgbClr val="00254C"/>
                </a:solidFill>
              </a:rPr>
              <a:t>Experimental statistics</a:t>
            </a:r>
            <a:endParaRPr lang="en-BE" sz="2000" b="1" kern="0" dirty="0">
              <a:solidFill>
                <a:srgbClr val="00254C"/>
              </a:solidFill>
            </a:endParaRPr>
          </a:p>
        </p:txBody>
      </p:sp>
      <p:sp>
        <p:nvSpPr>
          <p:cNvPr id="154" name="TextBox 153">
            <a:extLst>
              <a:ext uri="{FF2B5EF4-FFF2-40B4-BE49-F238E27FC236}">
                <a16:creationId xmlns:a16="http://schemas.microsoft.com/office/drawing/2014/main" id="{19540246-EEC1-4560-B685-F7A3928F2692}"/>
              </a:ext>
            </a:extLst>
          </p:cNvPr>
          <p:cNvSpPr txBox="1"/>
          <p:nvPr/>
        </p:nvSpPr>
        <p:spPr>
          <a:xfrm>
            <a:off x="4538175" y="2022962"/>
            <a:ext cx="4462390" cy="646331"/>
          </a:xfrm>
          <a:prstGeom prst="rect">
            <a:avLst/>
          </a:prstGeom>
          <a:noFill/>
          <a:ln>
            <a:noFill/>
          </a:ln>
        </p:spPr>
        <p:txBody>
          <a:bodyPr wrap="square" rtlCol="0">
            <a:spAutoFit/>
          </a:bodyPr>
          <a:lstStyle/>
          <a:p>
            <a:pPr lvl="1"/>
            <a:r>
              <a:rPr lang="en-IE" dirty="0" smtClean="0"/>
              <a:t>Collect user  feedback on new/frontier statistics</a:t>
            </a:r>
            <a:endParaRPr lang="en-IE" dirty="0"/>
          </a:p>
        </p:txBody>
      </p:sp>
      <p:sp>
        <p:nvSpPr>
          <p:cNvPr id="156" name="TextBox 155">
            <a:extLst>
              <a:ext uri="{FF2B5EF4-FFF2-40B4-BE49-F238E27FC236}">
                <a16:creationId xmlns:a16="http://schemas.microsoft.com/office/drawing/2014/main" id="{586A2C6A-98F0-4546-A582-077FE8F9B2BC}"/>
              </a:ext>
            </a:extLst>
          </p:cNvPr>
          <p:cNvSpPr txBox="1"/>
          <p:nvPr/>
        </p:nvSpPr>
        <p:spPr>
          <a:xfrm>
            <a:off x="6038386" y="5361109"/>
            <a:ext cx="3102132" cy="707886"/>
          </a:xfrm>
          <a:prstGeom prst="rect">
            <a:avLst/>
          </a:prstGeom>
          <a:noFill/>
          <a:ln>
            <a:noFill/>
          </a:ln>
        </p:spPr>
        <p:txBody>
          <a:bodyPr wrap="none" rtlCol="0">
            <a:spAutoFit/>
          </a:bodyPr>
          <a:lstStyle/>
          <a:p>
            <a:pPr algn="ctr" defTabSz="742950">
              <a:defRPr/>
            </a:pPr>
            <a:r>
              <a:rPr lang="en-IE" sz="2000" b="1" kern="0" dirty="0" smtClean="0">
                <a:solidFill>
                  <a:srgbClr val="00254C"/>
                </a:solidFill>
              </a:rPr>
              <a:t>4</a:t>
            </a:r>
            <a:r>
              <a:rPr lang="en-BE" sz="2000" b="1" kern="0" dirty="0" smtClean="0">
                <a:solidFill>
                  <a:srgbClr val="00254C"/>
                </a:solidFill>
              </a:rPr>
              <a:t>. </a:t>
            </a:r>
            <a:r>
              <a:rPr lang="en-IE" sz="2000" b="1" kern="0" dirty="0" smtClean="0">
                <a:solidFill>
                  <a:srgbClr val="00254C"/>
                </a:solidFill>
              </a:rPr>
              <a:t>Open algorithms and </a:t>
            </a:r>
            <a:br>
              <a:rPr lang="en-IE" sz="2000" b="1" kern="0" dirty="0" smtClean="0">
                <a:solidFill>
                  <a:srgbClr val="00254C"/>
                </a:solidFill>
              </a:rPr>
            </a:br>
            <a:r>
              <a:rPr lang="en-IE" sz="2000" b="1" kern="0" dirty="0" smtClean="0">
                <a:solidFill>
                  <a:srgbClr val="00254C"/>
                </a:solidFill>
              </a:rPr>
              <a:t>reproducibility </a:t>
            </a:r>
            <a:endParaRPr lang="en-BE" sz="2000" b="1" kern="0" dirty="0">
              <a:solidFill>
                <a:srgbClr val="00254C"/>
              </a:solidFill>
            </a:endParaRPr>
          </a:p>
        </p:txBody>
      </p:sp>
      <p:sp>
        <p:nvSpPr>
          <p:cNvPr id="157" name="TextBox 156">
            <a:extLst>
              <a:ext uri="{FF2B5EF4-FFF2-40B4-BE49-F238E27FC236}">
                <a16:creationId xmlns:a16="http://schemas.microsoft.com/office/drawing/2014/main" id="{19540246-EEC1-4560-B685-F7A3928F2692}"/>
              </a:ext>
            </a:extLst>
          </p:cNvPr>
          <p:cNvSpPr txBox="1"/>
          <p:nvPr/>
        </p:nvSpPr>
        <p:spPr>
          <a:xfrm>
            <a:off x="5932951" y="6009453"/>
            <a:ext cx="4013722" cy="369332"/>
          </a:xfrm>
          <a:prstGeom prst="rect">
            <a:avLst/>
          </a:prstGeom>
          <a:noFill/>
          <a:ln>
            <a:noFill/>
          </a:ln>
        </p:spPr>
        <p:txBody>
          <a:bodyPr wrap="square" rtlCol="0">
            <a:spAutoFit/>
          </a:bodyPr>
          <a:lstStyle/>
          <a:p>
            <a:pPr lvl="1"/>
            <a:r>
              <a:rPr lang="en-IE" dirty="0" smtClean="0"/>
              <a:t>Fostering engagement and trust </a:t>
            </a:r>
            <a:endParaRPr lang="en-IE" dirty="0"/>
          </a:p>
        </p:txBody>
      </p:sp>
      <p:pic>
        <p:nvPicPr>
          <p:cNvPr id="3" name="Picture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167959" y="3832074"/>
            <a:ext cx="849435" cy="651863"/>
          </a:xfrm>
          <a:prstGeom prst="rect">
            <a:avLst/>
          </a:prstGeom>
        </p:spPr>
      </p:pic>
      <p:pic>
        <p:nvPicPr>
          <p:cNvPr id="4" name="Picture 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409596" y="3781440"/>
            <a:ext cx="847122" cy="680650"/>
          </a:xfrm>
          <a:prstGeom prst="rect">
            <a:avLst/>
          </a:prstGeom>
        </p:spPr>
      </p:pic>
      <p:pic>
        <p:nvPicPr>
          <p:cNvPr id="5" name="Picture 4"/>
          <p:cNvPicPr>
            <a:picLocks noChangeAspect="1"/>
          </p:cNvPicPr>
          <p:nvPr/>
        </p:nvPicPr>
        <p:blipFill>
          <a:blip r:embed="rId8"/>
          <a:stretch>
            <a:fillRect/>
          </a:stretch>
        </p:blipFill>
        <p:spPr>
          <a:xfrm>
            <a:off x="5518461" y="3912625"/>
            <a:ext cx="1070679" cy="487159"/>
          </a:xfrm>
          <a:prstGeom prst="rect">
            <a:avLst/>
          </a:prstGeom>
        </p:spPr>
      </p:pic>
      <p:pic>
        <p:nvPicPr>
          <p:cNvPr id="120" name="Picture 119"/>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946538" y="3784240"/>
            <a:ext cx="856497" cy="633808"/>
          </a:xfrm>
          <a:prstGeom prst="rect">
            <a:avLst/>
          </a:prstGeom>
        </p:spPr>
      </p:pic>
    </p:spTree>
    <p:extLst>
      <p:ext uri="{BB962C8B-B14F-4D97-AF65-F5344CB8AC3E}">
        <p14:creationId xmlns:p14="http://schemas.microsoft.com/office/powerpoint/2010/main" val="69464639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6" name="Object 395" hidden="1">
            <a:extLst>
              <a:ext uri="{FF2B5EF4-FFF2-40B4-BE49-F238E27FC236}">
                <a16:creationId xmlns:a16="http://schemas.microsoft.com/office/drawing/2014/main" id="{6BB23D97-C0E3-459C-B150-FD7002B5815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5" name="think-cell Slide" r:id="rId9" imgW="473" imgH="473" progId="TCLayout.ActiveDocument.1">
                  <p:embed/>
                </p:oleObj>
              </mc:Choice>
              <mc:Fallback>
                <p:oleObj name="think-cell Slide" r:id="rId9" imgW="473" imgH="473" progId="TCLayout.ActiveDocument.1">
                  <p:embed/>
                  <p:pic>
                    <p:nvPicPr>
                      <p:cNvPr id="396" name="Object 395" hidden="1">
                        <a:extLst>
                          <a:ext uri="{FF2B5EF4-FFF2-40B4-BE49-F238E27FC236}">
                            <a16:creationId xmlns:a16="http://schemas.microsoft.com/office/drawing/2014/main" id="{6BB23D97-C0E3-459C-B150-FD7002B58156}"/>
                          </a:ext>
                        </a:extLst>
                      </p:cNvPr>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C3FBD8-4BB3-4724-92BF-6CCAA821E7C7}"/>
              </a:ext>
            </a:extLst>
          </p:cNvPr>
          <p:cNvSpPr>
            <a:spLocks noGrp="1"/>
          </p:cNvSpPr>
          <p:nvPr>
            <p:ph type="title"/>
          </p:nvPr>
        </p:nvSpPr>
        <p:spPr/>
        <p:txBody>
          <a:bodyPr vert="horz"/>
          <a:lstStyle/>
          <a:p>
            <a:r>
              <a:rPr lang="en-IE" sz="3600" dirty="0"/>
              <a:t>Methodological challenges : </a:t>
            </a:r>
            <a:r>
              <a:rPr lang="en-IE" sz="3600" dirty="0" smtClean="0"/>
              <a:t>(4) quality</a:t>
            </a:r>
            <a:endParaRPr lang="en-BE" sz="3600" dirty="0"/>
          </a:p>
        </p:txBody>
      </p:sp>
      <p:sp>
        <p:nvSpPr>
          <p:cNvPr id="198" name="Title 2">
            <a:extLst>
              <a:ext uri="{FF2B5EF4-FFF2-40B4-BE49-F238E27FC236}">
                <a16:creationId xmlns:a16="http://schemas.microsoft.com/office/drawing/2014/main" id="{23244ED8-DB00-4F01-B1C3-58D5A73B0EE9}"/>
              </a:ext>
            </a:extLst>
          </p:cNvPr>
          <p:cNvSpPr txBox="1">
            <a:spLocks/>
          </p:cNvSpPr>
          <p:nvPr/>
        </p:nvSpPr>
        <p:spPr>
          <a:xfrm>
            <a:off x="457200" y="366713"/>
            <a:ext cx="11276013" cy="443198"/>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endParaRPr lang="en-BE"/>
          </a:p>
        </p:txBody>
      </p:sp>
      <p:sp>
        <p:nvSpPr>
          <p:cNvPr id="199" name="TextBox 198">
            <a:extLst>
              <a:ext uri="{FF2B5EF4-FFF2-40B4-BE49-F238E27FC236}">
                <a16:creationId xmlns:a16="http://schemas.microsoft.com/office/drawing/2014/main" id="{586A2C6A-98F0-4546-A582-077FE8F9B2BC}"/>
              </a:ext>
            </a:extLst>
          </p:cNvPr>
          <p:cNvSpPr txBox="1"/>
          <p:nvPr/>
        </p:nvSpPr>
        <p:spPr>
          <a:xfrm>
            <a:off x="1520504" y="1637342"/>
            <a:ext cx="2534669" cy="400110"/>
          </a:xfrm>
          <a:prstGeom prst="rect">
            <a:avLst/>
          </a:prstGeom>
          <a:noFill/>
          <a:ln>
            <a:noFill/>
          </a:ln>
        </p:spPr>
        <p:txBody>
          <a:bodyPr wrap="none" rtlCol="0">
            <a:spAutoFit/>
          </a:bodyPr>
          <a:lstStyle/>
          <a:p>
            <a:pPr algn="ctr" defTabSz="742950">
              <a:defRPr/>
            </a:pPr>
            <a:r>
              <a:rPr lang="en-BE" sz="2000" b="1" kern="0" dirty="0">
                <a:solidFill>
                  <a:srgbClr val="00254C"/>
                </a:solidFill>
              </a:rPr>
              <a:t>1</a:t>
            </a:r>
            <a:r>
              <a:rPr lang="en-BE" sz="2000" b="1" kern="0" dirty="0" smtClean="0">
                <a:solidFill>
                  <a:srgbClr val="00254C"/>
                </a:solidFill>
              </a:rPr>
              <a:t>.</a:t>
            </a:r>
            <a:r>
              <a:rPr lang="en-IE" sz="2000" b="1" kern="0" dirty="0" smtClean="0">
                <a:solidFill>
                  <a:srgbClr val="00254C"/>
                </a:solidFill>
              </a:rPr>
              <a:t> External sources</a:t>
            </a:r>
            <a:endParaRPr lang="en-BE" sz="2000" b="1" kern="0" dirty="0">
              <a:solidFill>
                <a:srgbClr val="00254C"/>
              </a:solidFill>
            </a:endParaRPr>
          </a:p>
        </p:txBody>
      </p:sp>
      <p:sp>
        <p:nvSpPr>
          <p:cNvPr id="200" name="TextBox 199">
            <a:extLst>
              <a:ext uri="{FF2B5EF4-FFF2-40B4-BE49-F238E27FC236}">
                <a16:creationId xmlns:a16="http://schemas.microsoft.com/office/drawing/2014/main" id="{19540246-EEC1-4560-B685-F7A3928F2692}"/>
              </a:ext>
            </a:extLst>
          </p:cNvPr>
          <p:cNvSpPr txBox="1"/>
          <p:nvPr/>
        </p:nvSpPr>
        <p:spPr>
          <a:xfrm>
            <a:off x="776377" y="2012239"/>
            <a:ext cx="4137105" cy="646331"/>
          </a:xfrm>
          <a:prstGeom prst="rect">
            <a:avLst/>
          </a:prstGeom>
          <a:noFill/>
          <a:ln>
            <a:noFill/>
          </a:ln>
        </p:spPr>
        <p:txBody>
          <a:bodyPr wrap="square" rtlCol="0">
            <a:spAutoFit/>
          </a:bodyPr>
          <a:lstStyle/>
          <a:p>
            <a:pPr lvl="1" fontAlgn="base">
              <a:spcAft>
                <a:spcPct val="0"/>
              </a:spcAft>
              <a:buClr>
                <a:srgbClr val="00529B"/>
              </a:buClr>
              <a:buSzPct val="100000"/>
            </a:pPr>
            <a:r>
              <a:rPr lang="en-IE" dirty="0" smtClean="0"/>
              <a:t>Interoperable, distributed and accessible metadata</a:t>
            </a:r>
            <a:endParaRPr lang="en-BE" dirty="0"/>
          </a:p>
        </p:txBody>
      </p:sp>
      <p:grpSp>
        <p:nvGrpSpPr>
          <p:cNvPr id="209" name="Group 208">
            <a:extLst>
              <a:ext uri="{FF2B5EF4-FFF2-40B4-BE49-F238E27FC236}">
                <a16:creationId xmlns:a16="http://schemas.microsoft.com/office/drawing/2014/main" id="{B6E56B7A-3AC5-43C0-9A20-2CA992729120}"/>
              </a:ext>
            </a:extLst>
          </p:cNvPr>
          <p:cNvGrpSpPr>
            <a:grpSpLocks noChangeAspect="1"/>
          </p:cNvGrpSpPr>
          <p:nvPr/>
        </p:nvGrpSpPr>
        <p:grpSpPr>
          <a:xfrm>
            <a:off x="2766402" y="3290490"/>
            <a:ext cx="1658415" cy="1658415"/>
            <a:chOff x="601033" y="2855912"/>
            <a:chExt cx="2041126" cy="2041126"/>
          </a:xfrm>
        </p:grpSpPr>
        <p:sp>
          <p:nvSpPr>
            <p:cNvPr id="210" name="Circle: Hollow 151">
              <a:extLst>
                <a:ext uri="{FF2B5EF4-FFF2-40B4-BE49-F238E27FC236}">
                  <a16:creationId xmlns:a16="http://schemas.microsoft.com/office/drawing/2014/main" id="{EA0FBA5C-CDF7-43AF-B1F1-583DF48F9F7C}"/>
                </a:ext>
              </a:extLst>
            </p:cNvPr>
            <p:cNvSpPr>
              <a:spLocks noChangeAspect="1"/>
            </p:cNvSpPr>
            <p:nvPr/>
          </p:nvSpPr>
          <p:spPr>
            <a:xfrm>
              <a:off x="763241" y="3018120"/>
              <a:ext cx="1716710" cy="1716710"/>
            </a:xfrm>
            <a:prstGeom prst="donut">
              <a:avLst>
                <a:gd name="adj" fmla="val 7139"/>
              </a:avLst>
            </a:prstGeom>
            <a:solidFill>
              <a:srgbClr val="00254C"/>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11" name="Group 210">
              <a:extLst>
                <a:ext uri="{FF2B5EF4-FFF2-40B4-BE49-F238E27FC236}">
                  <a16:creationId xmlns:a16="http://schemas.microsoft.com/office/drawing/2014/main" id="{D40665D1-DF90-49CB-9074-BFBEF482EA78}"/>
                </a:ext>
              </a:extLst>
            </p:cNvPr>
            <p:cNvGrpSpPr/>
            <p:nvPr/>
          </p:nvGrpSpPr>
          <p:grpSpPr>
            <a:xfrm>
              <a:off x="1534076" y="2855912"/>
              <a:ext cx="175040" cy="2041126"/>
              <a:chOff x="8229799" y="2768458"/>
              <a:chExt cx="175040" cy="2041126"/>
            </a:xfrm>
            <a:solidFill>
              <a:srgbClr val="00254C"/>
            </a:solidFill>
          </p:grpSpPr>
          <p:sp>
            <p:nvSpPr>
              <p:cNvPr id="228" name="Trapezoid 227">
                <a:extLst>
                  <a:ext uri="{FF2B5EF4-FFF2-40B4-BE49-F238E27FC236}">
                    <a16:creationId xmlns:a16="http://schemas.microsoft.com/office/drawing/2014/main" id="{1FC99CE9-3E7F-454D-A6EC-767976D2B58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9" name="Trapezoid 228">
                <a:extLst>
                  <a:ext uri="{FF2B5EF4-FFF2-40B4-BE49-F238E27FC236}">
                    <a16:creationId xmlns:a16="http://schemas.microsoft.com/office/drawing/2014/main" id="{9082AC46-FF41-48D0-9699-FCE371890F2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2" name="Group 211">
              <a:extLst>
                <a:ext uri="{FF2B5EF4-FFF2-40B4-BE49-F238E27FC236}">
                  <a16:creationId xmlns:a16="http://schemas.microsoft.com/office/drawing/2014/main" id="{8E7551BA-1D05-4997-B9AA-B8910209EF46}"/>
                </a:ext>
              </a:extLst>
            </p:cNvPr>
            <p:cNvGrpSpPr/>
            <p:nvPr/>
          </p:nvGrpSpPr>
          <p:grpSpPr>
            <a:xfrm rot="5400000">
              <a:off x="1534076" y="2855912"/>
              <a:ext cx="175040" cy="2041126"/>
              <a:chOff x="8229799" y="2768458"/>
              <a:chExt cx="175040" cy="2041126"/>
            </a:xfrm>
            <a:solidFill>
              <a:srgbClr val="00254C"/>
            </a:solidFill>
          </p:grpSpPr>
          <p:sp>
            <p:nvSpPr>
              <p:cNvPr id="226" name="Trapezoid 225">
                <a:extLst>
                  <a:ext uri="{FF2B5EF4-FFF2-40B4-BE49-F238E27FC236}">
                    <a16:creationId xmlns:a16="http://schemas.microsoft.com/office/drawing/2014/main" id="{3CBC6AB7-E860-451A-A5B3-3E3F2616745E}"/>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7" name="Trapezoid 226">
                <a:extLst>
                  <a:ext uri="{FF2B5EF4-FFF2-40B4-BE49-F238E27FC236}">
                    <a16:creationId xmlns:a16="http://schemas.microsoft.com/office/drawing/2014/main" id="{82B44A42-7F23-4BF9-BD5C-6C9CD70925B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3" name="Group 212">
              <a:extLst>
                <a:ext uri="{FF2B5EF4-FFF2-40B4-BE49-F238E27FC236}">
                  <a16:creationId xmlns:a16="http://schemas.microsoft.com/office/drawing/2014/main" id="{7616840E-4CB8-42B9-95DA-C617F404C528}"/>
                </a:ext>
              </a:extLst>
            </p:cNvPr>
            <p:cNvGrpSpPr/>
            <p:nvPr/>
          </p:nvGrpSpPr>
          <p:grpSpPr>
            <a:xfrm rot="1800000">
              <a:off x="1534077" y="2855912"/>
              <a:ext cx="175040" cy="2041126"/>
              <a:chOff x="8229799" y="2768458"/>
              <a:chExt cx="175040" cy="2041126"/>
            </a:xfrm>
            <a:solidFill>
              <a:srgbClr val="00254C"/>
            </a:solidFill>
          </p:grpSpPr>
          <p:sp>
            <p:nvSpPr>
              <p:cNvPr id="224" name="Trapezoid 223">
                <a:extLst>
                  <a:ext uri="{FF2B5EF4-FFF2-40B4-BE49-F238E27FC236}">
                    <a16:creationId xmlns:a16="http://schemas.microsoft.com/office/drawing/2014/main" id="{91B9F5B1-D96A-465A-8C70-D4C69BF77D7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5" name="Trapezoid 224">
                <a:extLst>
                  <a:ext uri="{FF2B5EF4-FFF2-40B4-BE49-F238E27FC236}">
                    <a16:creationId xmlns:a16="http://schemas.microsoft.com/office/drawing/2014/main" id="{F46BA6AA-F43E-4285-97A4-E9F61A52CA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4" name="Group 213">
              <a:extLst>
                <a:ext uri="{FF2B5EF4-FFF2-40B4-BE49-F238E27FC236}">
                  <a16:creationId xmlns:a16="http://schemas.microsoft.com/office/drawing/2014/main" id="{3D4437D7-8847-4A86-A548-C94E45809C5E}"/>
                </a:ext>
              </a:extLst>
            </p:cNvPr>
            <p:cNvGrpSpPr/>
            <p:nvPr/>
          </p:nvGrpSpPr>
          <p:grpSpPr>
            <a:xfrm rot="3600000">
              <a:off x="1534076" y="2855913"/>
              <a:ext cx="175040" cy="2041126"/>
              <a:chOff x="8229799" y="2768458"/>
              <a:chExt cx="175040" cy="2041126"/>
            </a:xfrm>
            <a:solidFill>
              <a:srgbClr val="00254C"/>
            </a:solidFill>
          </p:grpSpPr>
          <p:sp>
            <p:nvSpPr>
              <p:cNvPr id="222" name="Trapezoid 221">
                <a:extLst>
                  <a:ext uri="{FF2B5EF4-FFF2-40B4-BE49-F238E27FC236}">
                    <a16:creationId xmlns:a16="http://schemas.microsoft.com/office/drawing/2014/main" id="{8868CE96-08CD-4898-88A6-D5731259C02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3" name="Trapezoid 222">
                <a:extLst>
                  <a:ext uri="{FF2B5EF4-FFF2-40B4-BE49-F238E27FC236}">
                    <a16:creationId xmlns:a16="http://schemas.microsoft.com/office/drawing/2014/main" id="{51702920-CDBF-44D7-8C98-CB010C07159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5" name="Group 214">
              <a:extLst>
                <a:ext uri="{FF2B5EF4-FFF2-40B4-BE49-F238E27FC236}">
                  <a16:creationId xmlns:a16="http://schemas.microsoft.com/office/drawing/2014/main" id="{9E726E68-EA77-4B23-9EFE-7A77EEE51B60}"/>
                </a:ext>
              </a:extLst>
            </p:cNvPr>
            <p:cNvGrpSpPr/>
            <p:nvPr/>
          </p:nvGrpSpPr>
          <p:grpSpPr>
            <a:xfrm rot="7200000">
              <a:off x="1534076" y="2855913"/>
              <a:ext cx="175040" cy="2041126"/>
              <a:chOff x="8229799" y="2768458"/>
              <a:chExt cx="175040" cy="2041126"/>
            </a:xfrm>
            <a:solidFill>
              <a:srgbClr val="00254C"/>
            </a:solidFill>
          </p:grpSpPr>
          <p:sp>
            <p:nvSpPr>
              <p:cNvPr id="220" name="Trapezoid 219">
                <a:extLst>
                  <a:ext uri="{FF2B5EF4-FFF2-40B4-BE49-F238E27FC236}">
                    <a16:creationId xmlns:a16="http://schemas.microsoft.com/office/drawing/2014/main" id="{3599D55E-3831-4859-BAFF-868F2BC029C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1" name="Trapezoid 220">
                <a:extLst>
                  <a:ext uri="{FF2B5EF4-FFF2-40B4-BE49-F238E27FC236}">
                    <a16:creationId xmlns:a16="http://schemas.microsoft.com/office/drawing/2014/main" id="{47DDC634-46E1-4D14-A241-2B0D3E02ADEA}"/>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6" name="Group 215">
              <a:extLst>
                <a:ext uri="{FF2B5EF4-FFF2-40B4-BE49-F238E27FC236}">
                  <a16:creationId xmlns:a16="http://schemas.microsoft.com/office/drawing/2014/main" id="{BC32F345-79D6-4B0C-8AA7-B79544576FB8}"/>
                </a:ext>
              </a:extLst>
            </p:cNvPr>
            <p:cNvGrpSpPr/>
            <p:nvPr/>
          </p:nvGrpSpPr>
          <p:grpSpPr>
            <a:xfrm rot="9000000">
              <a:off x="1534077" y="2855912"/>
              <a:ext cx="175040" cy="2041126"/>
              <a:chOff x="8229799" y="2768458"/>
              <a:chExt cx="175040" cy="2041126"/>
            </a:xfrm>
            <a:solidFill>
              <a:srgbClr val="00254C"/>
            </a:solidFill>
          </p:grpSpPr>
          <p:sp>
            <p:nvSpPr>
              <p:cNvPr id="218" name="Trapezoid 217">
                <a:extLst>
                  <a:ext uri="{FF2B5EF4-FFF2-40B4-BE49-F238E27FC236}">
                    <a16:creationId xmlns:a16="http://schemas.microsoft.com/office/drawing/2014/main" id="{4426F5B0-6EF1-4AFD-82F7-841E07CF29F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19" name="Trapezoid 218">
                <a:extLst>
                  <a:ext uri="{FF2B5EF4-FFF2-40B4-BE49-F238E27FC236}">
                    <a16:creationId xmlns:a16="http://schemas.microsoft.com/office/drawing/2014/main" id="{5E91476C-D3E1-4592-9AF2-63D20919182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17" name="Oval 216">
              <a:extLst>
                <a:ext uri="{FF2B5EF4-FFF2-40B4-BE49-F238E27FC236}">
                  <a16:creationId xmlns:a16="http://schemas.microsoft.com/office/drawing/2014/main" id="{9AF38D8F-A717-4C0B-B32E-DB4B315117A8}"/>
                </a:ext>
              </a:extLst>
            </p:cNvPr>
            <p:cNvSpPr>
              <a:spLocks noChangeAspect="1"/>
            </p:cNvSpPr>
            <p:nvPr/>
          </p:nvSpPr>
          <p:spPr>
            <a:xfrm>
              <a:off x="915182" y="3175845"/>
              <a:ext cx="1408186" cy="1408186"/>
            </a:xfrm>
            <a:prstGeom prst="ellipse">
              <a:avLst/>
            </a:prstGeom>
            <a:solidFill>
              <a:srgbClr val="FFFFFF"/>
            </a:solidFill>
            <a:ln w="76200" cap="flat" cmpd="sng" algn="ctr">
              <a:solidFill>
                <a:srgbClr val="00254C">
                  <a:lumMod val="75000"/>
                  <a:lumOff val="2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254C"/>
                </a:solidFill>
                <a:effectLst/>
                <a:uLnTx/>
                <a:uFillTx/>
                <a:latin typeface="Arial"/>
                <a:ea typeface="Arial Unicode MS"/>
                <a:cs typeface="Arial Unicode MS"/>
              </a:endParaRPr>
            </a:p>
          </p:txBody>
        </p:sp>
      </p:grpSp>
      <p:grpSp>
        <p:nvGrpSpPr>
          <p:cNvPr id="230" name="Group 229">
            <a:extLst>
              <a:ext uri="{FF2B5EF4-FFF2-40B4-BE49-F238E27FC236}">
                <a16:creationId xmlns:a16="http://schemas.microsoft.com/office/drawing/2014/main" id="{3A2446FB-B143-44CD-B59C-6F04C8CCD3BF}"/>
              </a:ext>
            </a:extLst>
          </p:cNvPr>
          <p:cNvGrpSpPr/>
          <p:nvPr/>
        </p:nvGrpSpPr>
        <p:grpSpPr>
          <a:xfrm>
            <a:off x="4016597" y="3290490"/>
            <a:ext cx="1658415" cy="1658415"/>
            <a:chOff x="2955023" y="2855911"/>
            <a:chExt cx="2041126" cy="2041126"/>
          </a:xfrm>
        </p:grpSpPr>
        <p:sp>
          <p:nvSpPr>
            <p:cNvPr id="231" name="Circle: Hollow 322">
              <a:extLst>
                <a:ext uri="{FF2B5EF4-FFF2-40B4-BE49-F238E27FC236}">
                  <a16:creationId xmlns:a16="http://schemas.microsoft.com/office/drawing/2014/main" id="{E43ACC71-FAE3-4901-85E2-511C25446312}"/>
                </a:ext>
              </a:extLst>
            </p:cNvPr>
            <p:cNvSpPr>
              <a:spLocks noChangeAspect="1"/>
            </p:cNvSpPr>
            <p:nvPr/>
          </p:nvSpPr>
          <p:spPr>
            <a:xfrm>
              <a:off x="3117231" y="3018119"/>
              <a:ext cx="1716710" cy="1716710"/>
            </a:xfrm>
            <a:prstGeom prst="donut">
              <a:avLst>
                <a:gd name="adj" fmla="val 7139"/>
              </a:avLst>
            </a:prstGeom>
            <a:solidFill>
              <a:srgbClr val="00529B"/>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32" name="Group 231">
              <a:extLst>
                <a:ext uri="{FF2B5EF4-FFF2-40B4-BE49-F238E27FC236}">
                  <a16:creationId xmlns:a16="http://schemas.microsoft.com/office/drawing/2014/main" id="{500F63EA-84CC-4F49-9E44-B06E40C0FB62}"/>
                </a:ext>
              </a:extLst>
            </p:cNvPr>
            <p:cNvGrpSpPr/>
            <p:nvPr/>
          </p:nvGrpSpPr>
          <p:grpSpPr>
            <a:xfrm>
              <a:off x="3888066" y="2855911"/>
              <a:ext cx="175040" cy="2041126"/>
              <a:chOff x="8229799" y="2768458"/>
              <a:chExt cx="175040" cy="2041126"/>
            </a:xfrm>
            <a:solidFill>
              <a:srgbClr val="00529B"/>
            </a:solidFill>
          </p:grpSpPr>
          <p:sp>
            <p:nvSpPr>
              <p:cNvPr id="249" name="Trapezoid 248">
                <a:extLst>
                  <a:ext uri="{FF2B5EF4-FFF2-40B4-BE49-F238E27FC236}">
                    <a16:creationId xmlns:a16="http://schemas.microsoft.com/office/drawing/2014/main" id="{1BBC0C25-3A97-43E2-BE25-C667BC5B938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50" name="Trapezoid 249">
                <a:extLst>
                  <a:ext uri="{FF2B5EF4-FFF2-40B4-BE49-F238E27FC236}">
                    <a16:creationId xmlns:a16="http://schemas.microsoft.com/office/drawing/2014/main" id="{CE8C03ED-A662-4262-AFEB-C1BCFA58C00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3" name="Group 232">
              <a:extLst>
                <a:ext uri="{FF2B5EF4-FFF2-40B4-BE49-F238E27FC236}">
                  <a16:creationId xmlns:a16="http://schemas.microsoft.com/office/drawing/2014/main" id="{02DD4821-9EC6-4C48-8991-F82D301D3D6C}"/>
                </a:ext>
              </a:extLst>
            </p:cNvPr>
            <p:cNvGrpSpPr/>
            <p:nvPr/>
          </p:nvGrpSpPr>
          <p:grpSpPr>
            <a:xfrm rot="5400000">
              <a:off x="3888066" y="2855911"/>
              <a:ext cx="175040" cy="2041126"/>
              <a:chOff x="8229799" y="2768458"/>
              <a:chExt cx="175040" cy="2041126"/>
            </a:xfrm>
            <a:solidFill>
              <a:srgbClr val="00529B"/>
            </a:solidFill>
          </p:grpSpPr>
          <p:sp>
            <p:nvSpPr>
              <p:cNvPr id="247" name="Trapezoid 246">
                <a:extLst>
                  <a:ext uri="{FF2B5EF4-FFF2-40B4-BE49-F238E27FC236}">
                    <a16:creationId xmlns:a16="http://schemas.microsoft.com/office/drawing/2014/main" id="{B276D4BD-AA9A-4CB3-BA95-0B88FFE2374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8" name="Trapezoid 247">
                <a:extLst>
                  <a:ext uri="{FF2B5EF4-FFF2-40B4-BE49-F238E27FC236}">
                    <a16:creationId xmlns:a16="http://schemas.microsoft.com/office/drawing/2014/main" id="{F1890FF8-9DEE-478F-9A6F-35E80668E289}"/>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4" name="Group 233">
              <a:extLst>
                <a:ext uri="{FF2B5EF4-FFF2-40B4-BE49-F238E27FC236}">
                  <a16:creationId xmlns:a16="http://schemas.microsoft.com/office/drawing/2014/main" id="{14CE34E0-89BE-480D-AC51-4E8E49C40491}"/>
                </a:ext>
              </a:extLst>
            </p:cNvPr>
            <p:cNvGrpSpPr/>
            <p:nvPr/>
          </p:nvGrpSpPr>
          <p:grpSpPr>
            <a:xfrm rot="1800000">
              <a:off x="3888067" y="2855911"/>
              <a:ext cx="175040" cy="2041126"/>
              <a:chOff x="8229799" y="2768458"/>
              <a:chExt cx="175040" cy="2041126"/>
            </a:xfrm>
            <a:solidFill>
              <a:srgbClr val="00529B"/>
            </a:solidFill>
          </p:grpSpPr>
          <p:sp>
            <p:nvSpPr>
              <p:cNvPr id="245" name="Trapezoid 244">
                <a:extLst>
                  <a:ext uri="{FF2B5EF4-FFF2-40B4-BE49-F238E27FC236}">
                    <a16:creationId xmlns:a16="http://schemas.microsoft.com/office/drawing/2014/main" id="{04A1AEB4-BCA5-45AD-A899-A458323FD35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6" name="Trapezoid 245">
                <a:extLst>
                  <a:ext uri="{FF2B5EF4-FFF2-40B4-BE49-F238E27FC236}">
                    <a16:creationId xmlns:a16="http://schemas.microsoft.com/office/drawing/2014/main" id="{C71157F0-88C6-4A4E-9757-739346DD5B4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5" name="Group 234">
              <a:extLst>
                <a:ext uri="{FF2B5EF4-FFF2-40B4-BE49-F238E27FC236}">
                  <a16:creationId xmlns:a16="http://schemas.microsoft.com/office/drawing/2014/main" id="{802A2F80-3F2D-43C8-8B24-ECBF301651B8}"/>
                </a:ext>
              </a:extLst>
            </p:cNvPr>
            <p:cNvGrpSpPr/>
            <p:nvPr/>
          </p:nvGrpSpPr>
          <p:grpSpPr>
            <a:xfrm rot="3600000">
              <a:off x="3888066" y="2855912"/>
              <a:ext cx="175040" cy="2041126"/>
              <a:chOff x="8229799" y="2768458"/>
              <a:chExt cx="175040" cy="2041126"/>
            </a:xfrm>
            <a:solidFill>
              <a:srgbClr val="00529B"/>
            </a:solidFill>
          </p:grpSpPr>
          <p:sp>
            <p:nvSpPr>
              <p:cNvPr id="243" name="Trapezoid 242">
                <a:extLst>
                  <a:ext uri="{FF2B5EF4-FFF2-40B4-BE49-F238E27FC236}">
                    <a16:creationId xmlns:a16="http://schemas.microsoft.com/office/drawing/2014/main" id="{1E506D08-A5AD-4CCA-A27C-DB25771BC1E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4" name="Trapezoid 243">
                <a:extLst>
                  <a:ext uri="{FF2B5EF4-FFF2-40B4-BE49-F238E27FC236}">
                    <a16:creationId xmlns:a16="http://schemas.microsoft.com/office/drawing/2014/main" id="{D8343261-DCA5-4E46-BD7D-B175F6F4CF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6" name="Group 235">
              <a:extLst>
                <a:ext uri="{FF2B5EF4-FFF2-40B4-BE49-F238E27FC236}">
                  <a16:creationId xmlns:a16="http://schemas.microsoft.com/office/drawing/2014/main" id="{D148AE05-0E17-4FA1-82BE-67B00486F837}"/>
                </a:ext>
              </a:extLst>
            </p:cNvPr>
            <p:cNvGrpSpPr/>
            <p:nvPr/>
          </p:nvGrpSpPr>
          <p:grpSpPr>
            <a:xfrm rot="7200000">
              <a:off x="3888066" y="2855912"/>
              <a:ext cx="175040" cy="2041126"/>
              <a:chOff x="8229799" y="2768458"/>
              <a:chExt cx="175040" cy="2041126"/>
            </a:xfrm>
            <a:solidFill>
              <a:srgbClr val="00529B"/>
            </a:solidFill>
          </p:grpSpPr>
          <p:sp>
            <p:nvSpPr>
              <p:cNvPr id="241" name="Trapezoid 240">
                <a:extLst>
                  <a:ext uri="{FF2B5EF4-FFF2-40B4-BE49-F238E27FC236}">
                    <a16:creationId xmlns:a16="http://schemas.microsoft.com/office/drawing/2014/main" id="{AB7F23EF-7BE3-4FD9-BEE7-EC95DF4BF33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2" name="Trapezoid 241">
                <a:extLst>
                  <a:ext uri="{FF2B5EF4-FFF2-40B4-BE49-F238E27FC236}">
                    <a16:creationId xmlns:a16="http://schemas.microsoft.com/office/drawing/2014/main" id="{9A877E46-3549-46D2-A892-B4E0B9013382}"/>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7" name="Group 236">
              <a:extLst>
                <a:ext uri="{FF2B5EF4-FFF2-40B4-BE49-F238E27FC236}">
                  <a16:creationId xmlns:a16="http://schemas.microsoft.com/office/drawing/2014/main" id="{B789597B-BD34-4D5B-8749-EDAE2047386C}"/>
                </a:ext>
              </a:extLst>
            </p:cNvPr>
            <p:cNvGrpSpPr/>
            <p:nvPr/>
          </p:nvGrpSpPr>
          <p:grpSpPr>
            <a:xfrm rot="9000000">
              <a:off x="3888067" y="2855911"/>
              <a:ext cx="175040" cy="2041126"/>
              <a:chOff x="8229799" y="2768458"/>
              <a:chExt cx="175040" cy="2041126"/>
            </a:xfrm>
            <a:solidFill>
              <a:srgbClr val="00529B"/>
            </a:solidFill>
          </p:grpSpPr>
          <p:sp>
            <p:nvSpPr>
              <p:cNvPr id="239" name="Trapezoid 238">
                <a:extLst>
                  <a:ext uri="{FF2B5EF4-FFF2-40B4-BE49-F238E27FC236}">
                    <a16:creationId xmlns:a16="http://schemas.microsoft.com/office/drawing/2014/main" id="{4399496A-204F-40A0-A5FF-FD1F5F7159A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0" name="Trapezoid 239">
                <a:extLst>
                  <a:ext uri="{FF2B5EF4-FFF2-40B4-BE49-F238E27FC236}">
                    <a16:creationId xmlns:a16="http://schemas.microsoft.com/office/drawing/2014/main" id="{C3A24BEC-CD56-4B63-B919-9F4AAD51D30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38" name="Oval 237">
              <a:extLst>
                <a:ext uri="{FF2B5EF4-FFF2-40B4-BE49-F238E27FC236}">
                  <a16:creationId xmlns:a16="http://schemas.microsoft.com/office/drawing/2014/main" id="{4466303F-0306-490E-B5FC-E8652B2D2C53}"/>
                </a:ext>
              </a:extLst>
            </p:cNvPr>
            <p:cNvSpPr>
              <a:spLocks noChangeAspect="1"/>
            </p:cNvSpPr>
            <p:nvPr/>
          </p:nvSpPr>
          <p:spPr>
            <a:xfrm>
              <a:off x="3269172" y="3175844"/>
              <a:ext cx="1408186" cy="1408186"/>
            </a:xfrm>
            <a:prstGeom prst="ellipse">
              <a:avLst/>
            </a:prstGeom>
            <a:solidFill>
              <a:srgbClr val="FFFFFF"/>
            </a:solidFill>
            <a:ln w="76200" cap="flat" cmpd="sng" algn="ctr">
              <a:solidFill>
                <a:srgbClr val="00529B">
                  <a:lumMod val="50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529B"/>
                </a:solidFill>
                <a:effectLst/>
                <a:uLnTx/>
                <a:uFillTx/>
                <a:latin typeface="Arial"/>
                <a:ea typeface="Arial Unicode MS"/>
                <a:cs typeface="Arial Unicode MS"/>
              </a:endParaRPr>
            </a:p>
          </p:txBody>
        </p:sp>
      </p:grpSp>
      <p:grpSp>
        <p:nvGrpSpPr>
          <p:cNvPr id="251" name="Group 250">
            <a:extLst>
              <a:ext uri="{FF2B5EF4-FFF2-40B4-BE49-F238E27FC236}">
                <a16:creationId xmlns:a16="http://schemas.microsoft.com/office/drawing/2014/main" id="{C9C4B35E-1F31-4F00-A7C5-FB9A33786BF9}"/>
              </a:ext>
            </a:extLst>
          </p:cNvPr>
          <p:cNvGrpSpPr/>
          <p:nvPr/>
        </p:nvGrpSpPr>
        <p:grpSpPr>
          <a:xfrm>
            <a:off x="5266793" y="3290490"/>
            <a:ext cx="1658415" cy="1658415"/>
            <a:chOff x="5517577" y="2855912"/>
            <a:chExt cx="2041126" cy="2041126"/>
          </a:xfrm>
        </p:grpSpPr>
        <p:sp>
          <p:nvSpPr>
            <p:cNvPr id="252" name="Circle: Hollow 342">
              <a:extLst>
                <a:ext uri="{FF2B5EF4-FFF2-40B4-BE49-F238E27FC236}">
                  <a16:creationId xmlns:a16="http://schemas.microsoft.com/office/drawing/2014/main" id="{FB482B73-6B66-4808-88F4-8F5C4DA765EA}"/>
                </a:ext>
              </a:extLst>
            </p:cNvPr>
            <p:cNvSpPr>
              <a:spLocks noChangeAspect="1"/>
            </p:cNvSpPr>
            <p:nvPr/>
          </p:nvSpPr>
          <p:spPr>
            <a:xfrm>
              <a:off x="5679785" y="3018120"/>
              <a:ext cx="1716710" cy="1716710"/>
            </a:xfrm>
            <a:prstGeom prst="donut">
              <a:avLst>
                <a:gd name="adj" fmla="val 7139"/>
              </a:avLst>
            </a:prstGeom>
            <a:solidFill>
              <a:srgbClr val="00A5E3"/>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53" name="Group 252">
              <a:extLst>
                <a:ext uri="{FF2B5EF4-FFF2-40B4-BE49-F238E27FC236}">
                  <a16:creationId xmlns:a16="http://schemas.microsoft.com/office/drawing/2014/main" id="{96483F95-D137-4BC0-B257-B8F15EC3DCB3}"/>
                </a:ext>
              </a:extLst>
            </p:cNvPr>
            <p:cNvGrpSpPr/>
            <p:nvPr/>
          </p:nvGrpSpPr>
          <p:grpSpPr>
            <a:xfrm>
              <a:off x="6450620" y="2855912"/>
              <a:ext cx="175040" cy="2041126"/>
              <a:chOff x="8229799" y="2768458"/>
              <a:chExt cx="175040" cy="2041126"/>
            </a:xfrm>
            <a:solidFill>
              <a:srgbClr val="00A5E3"/>
            </a:solidFill>
          </p:grpSpPr>
          <p:sp>
            <p:nvSpPr>
              <p:cNvPr id="270" name="Trapezoid 269">
                <a:extLst>
                  <a:ext uri="{FF2B5EF4-FFF2-40B4-BE49-F238E27FC236}">
                    <a16:creationId xmlns:a16="http://schemas.microsoft.com/office/drawing/2014/main" id="{F289C1F2-885C-4BFA-8D06-84880AF01D28}"/>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71" name="Trapezoid 270">
                <a:extLst>
                  <a:ext uri="{FF2B5EF4-FFF2-40B4-BE49-F238E27FC236}">
                    <a16:creationId xmlns:a16="http://schemas.microsoft.com/office/drawing/2014/main" id="{24CF4381-0AAD-45D7-8BFE-7FF7BAD3F81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4" name="Group 253">
              <a:extLst>
                <a:ext uri="{FF2B5EF4-FFF2-40B4-BE49-F238E27FC236}">
                  <a16:creationId xmlns:a16="http://schemas.microsoft.com/office/drawing/2014/main" id="{F859D88C-EAB4-48D0-A6B7-72FB77EA6F39}"/>
                </a:ext>
              </a:extLst>
            </p:cNvPr>
            <p:cNvGrpSpPr/>
            <p:nvPr/>
          </p:nvGrpSpPr>
          <p:grpSpPr>
            <a:xfrm rot="5400000">
              <a:off x="6450620" y="2855912"/>
              <a:ext cx="175040" cy="2041126"/>
              <a:chOff x="8229799" y="2768458"/>
              <a:chExt cx="175040" cy="2041126"/>
            </a:xfrm>
            <a:solidFill>
              <a:srgbClr val="00A5E3"/>
            </a:solidFill>
          </p:grpSpPr>
          <p:sp>
            <p:nvSpPr>
              <p:cNvPr id="268" name="Trapezoid 267">
                <a:extLst>
                  <a:ext uri="{FF2B5EF4-FFF2-40B4-BE49-F238E27FC236}">
                    <a16:creationId xmlns:a16="http://schemas.microsoft.com/office/drawing/2014/main" id="{35FA2597-7D7A-4D5B-B4E3-B1D056A2606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9" name="Trapezoid 268">
                <a:extLst>
                  <a:ext uri="{FF2B5EF4-FFF2-40B4-BE49-F238E27FC236}">
                    <a16:creationId xmlns:a16="http://schemas.microsoft.com/office/drawing/2014/main" id="{1826CF79-4A0C-4480-895C-FF04C75A54B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5" name="Group 254">
              <a:extLst>
                <a:ext uri="{FF2B5EF4-FFF2-40B4-BE49-F238E27FC236}">
                  <a16:creationId xmlns:a16="http://schemas.microsoft.com/office/drawing/2014/main" id="{B9B5636F-1815-4546-AC95-9F64FFF3C66C}"/>
                </a:ext>
              </a:extLst>
            </p:cNvPr>
            <p:cNvGrpSpPr/>
            <p:nvPr/>
          </p:nvGrpSpPr>
          <p:grpSpPr>
            <a:xfrm rot="1800000">
              <a:off x="6450621" y="2855912"/>
              <a:ext cx="175040" cy="2041126"/>
              <a:chOff x="8229799" y="2768458"/>
              <a:chExt cx="175040" cy="2041126"/>
            </a:xfrm>
            <a:solidFill>
              <a:srgbClr val="00A5E3"/>
            </a:solidFill>
          </p:grpSpPr>
          <p:sp>
            <p:nvSpPr>
              <p:cNvPr id="266" name="Trapezoid 265">
                <a:extLst>
                  <a:ext uri="{FF2B5EF4-FFF2-40B4-BE49-F238E27FC236}">
                    <a16:creationId xmlns:a16="http://schemas.microsoft.com/office/drawing/2014/main" id="{EE8AE4AD-A223-4E1B-A09F-333F7DC791A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7" name="Trapezoid 266">
                <a:extLst>
                  <a:ext uri="{FF2B5EF4-FFF2-40B4-BE49-F238E27FC236}">
                    <a16:creationId xmlns:a16="http://schemas.microsoft.com/office/drawing/2014/main" id="{FB2FAF06-4A98-4560-A80C-CDEB6E42100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6" name="Group 255">
              <a:extLst>
                <a:ext uri="{FF2B5EF4-FFF2-40B4-BE49-F238E27FC236}">
                  <a16:creationId xmlns:a16="http://schemas.microsoft.com/office/drawing/2014/main" id="{45F260AB-68AD-4E95-AD44-D0D4AC8FE16D}"/>
                </a:ext>
              </a:extLst>
            </p:cNvPr>
            <p:cNvGrpSpPr/>
            <p:nvPr/>
          </p:nvGrpSpPr>
          <p:grpSpPr>
            <a:xfrm rot="3600000">
              <a:off x="6450620" y="2855913"/>
              <a:ext cx="175040" cy="2041126"/>
              <a:chOff x="8229799" y="2768458"/>
              <a:chExt cx="175040" cy="2041126"/>
            </a:xfrm>
            <a:solidFill>
              <a:srgbClr val="00A5E3"/>
            </a:solidFill>
          </p:grpSpPr>
          <p:sp>
            <p:nvSpPr>
              <p:cNvPr id="264" name="Trapezoid 263">
                <a:extLst>
                  <a:ext uri="{FF2B5EF4-FFF2-40B4-BE49-F238E27FC236}">
                    <a16:creationId xmlns:a16="http://schemas.microsoft.com/office/drawing/2014/main" id="{2F576CE6-C7F8-455B-ADE2-C36E730BB66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5" name="Trapezoid 264">
                <a:extLst>
                  <a:ext uri="{FF2B5EF4-FFF2-40B4-BE49-F238E27FC236}">
                    <a16:creationId xmlns:a16="http://schemas.microsoft.com/office/drawing/2014/main" id="{1C5068E5-998E-425C-973B-7E282C81BA13}"/>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7" name="Group 256">
              <a:extLst>
                <a:ext uri="{FF2B5EF4-FFF2-40B4-BE49-F238E27FC236}">
                  <a16:creationId xmlns:a16="http://schemas.microsoft.com/office/drawing/2014/main" id="{F4354415-D96C-4406-8E32-E4B4B003F066}"/>
                </a:ext>
              </a:extLst>
            </p:cNvPr>
            <p:cNvGrpSpPr/>
            <p:nvPr/>
          </p:nvGrpSpPr>
          <p:grpSpPr>
            <a:xfrm rot="7200000">
              <a:off x="6450620" y="2855913"/>
              <a:ext cx="175040" cy="2041126"/>
              <a:chOff x="8229799" y="2768458"/>
              <a:chExt cx="175040" cy="2041126"/>
            </a:xfrm>
            <a:solidFill>
              <a:srgbClr val="00A5E3"/>
            </a:solidFill>
          </p:grpSpPr>
          <p:sp>
            <p:nvSpPr>
              <p:cNvPr id="262" name="Trapezoid 261">
                <a:extLst>
                  <a:ext uri="{FF2B5EF4-FFF2-40B4-BE49-F238E27FC236}">
                    <a16:creationId xmlns:a16="http://schemas.microsoft.com/office/drawing/2014/main" id="{D21F1152-91F1-4881-B865-6A9B402BA1E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3" name="Trapezoid 262">
                <a:extLst>
                  <a:ext uri="{FF2B5EF4-FFF2-40B4-BE49-F238E27FC236}">
                    <a16:creationId xmlns:a16="http://schemas.microsoft.com/office/drawing/2014/main" id="{EC74F657-6051-4C4E-84E6-7721738D9F5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8" name="Group 257">
              <a:extLst>
                <a:ext uri="{FF2B5EF4-FFF2-40B4-BE49-F238E27FC236}">
                  <a16:creationId xmlns:a16="http://schemas.microsoft.com/office/drawing/2014/main" id="{C2E80D97-7560-4B52-BF31-0FB765394F5D}"/>
                </a:ext>
              </a:extLst>
            </p:cNvPr>
            <p:cNvGrpSpPr/>
            <p:nvPr/>
          </p:nvGrpSpPr>
          <p:grpSpPr>
            <a:xfrm rot="9000000">
              <a:off x="6450621" y="2855912"/>
              <a:ext cx="175040" cy="2041126"/>
              <a:chOff x="8229799" y="2768458"/>
              <a:chExt cx="175040" cy="2041126"/>
            </a:xfrm>
            <a:solidFill>
              <a:srgbClr val="00A5E3"/>
            </a:solidFill>
          </p:grpSpPr>
          <p:sp>
            <p:nvSpPr>
              <p:cNvPr id="260" name="Trapezoid 259">
                <a:extLst>
                  <a:ext uri="{FF2B5EF4-FFF2-40B4-BE49-F238E27FC236}">
                    <a16:creationId xmlns:a16="http://schemas.microsoft.com/office/drawing/2014/main" id="{AECF15D1-BC3B-4ED7-8F4B-56B030AC0FFB}"/>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1" name="Trapezoid 260">
                <a:extLst>
                  <a:ext uri="{FF2B5EF4-FFF2-40B4-BE49-F238E27FC236}">
                    <a16:creationId xmlns:a16="http://schemas.microsoft.com/office/drawing/2014/main" id="{EFD49C64-45C5-4D4B-8280-09CF817D077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59" name="Oval 258">
              <a:extLst>
                <a:ext uri="{FF2B5EF4-FFF2-40B4-BE49-F238E27FC236}">
                  <a16:creationId xmlns:a16="http://schemas.microsoft.com/office/drawing/2014/main" id="{6A27A884-8FBA-4BD2-96F5-DDFF3F2A6F50}"/>
                </a:ext>
              </a:extLst>
            </p:cNvPr>
            <p:cNvSpPr>
              <a:spLocks noChangeAspect="1"/>
            </p:cNvSpPr>
            <p:nvPr/>
          </p:nvSpPr>
          <p:spPr>
            <a:xfrm>
              <a:off x="5831726" y="3175845"/>
              <a:ext cx="1408186" cy="1408186"/>
            </a:xfrm>
            <a:prstGeom prst="ellipse">
              <a:avLst/>
            </a:prstGeom>
            <a:solidFill>
              <a:srgbClr val="FFFFFF"/>
            </a:solidFill>
            <a:ln w="76200" cap="flat" cmpd="sng" algn="ctr">
              <a:solidFill>
                <a:srgbClr val="00A5E3">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A5E3"/>
                </a:solidFill>
                <a:effectLst/>
                <a:uLnTx/>
                <a:uFillTx/>
                <a:latin typeface="Arial"/>
                <a:ea typeface="Arial Unicode MS"/>
                <a:cs typeface="Arial Unicode MS"/>
              </a:endParaRPr>
            </a:p>
          </p:txBody>
        </p:sp>
      </p:grpSp>
      <p:pic>
        <p:nvPicPr>
          <p:cNvPr id="7" name="Picture 6"/>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671494" y="3786849"/>
            <a:ext cx="856497" cy="633808"/>
          </a:xfrm>
          <a:prstGeom prst="rect">
            <a:avLst/>
          </a:prstGeom>
        </p:spPr>
      </p:pic>
      <p:grpSp>
        <p:nvGrpSpPr>
          <p:cNvPr id="272" name="Group 271">
            <a:extLst>
              <a:ext uri="{FF2B5EF4-FFF2-40B4-BE49-F238E27FC236}">
                <a16:creationId xmlns:a16="http://schemas.microsoft.com/office/drawing/2014/main" id="{006E3EF0-D586-47E7-803A-F7A242A4F0A9}"/>
              </a:ext>
            </a:extLst>
          </p:cNvPr>
          <p:cNvGrpSpPr/>
          <p:nvPr/>
        </p:nvGrpSpPr>
        <p:grpSpPr>
          <a:xfrm>
            <a:off x="6516988" y="3290490"/>
            <a:ext cx="1658415" cy="1658415"/>
            <a:chOff x="7964592" y="2855911"/>
            <a:chExt cx="2041126" cy="2041126"/>
          </a:xfrm>
        </p:grpSpPr>
        <p:sp>
          <p:nvSpPr>
            <p:cNvPr id="273" name="Circle: Hollow 362">
              <a:extLst>
                <a:ext uri="{FF2B5EF4-FFF2-40B4-BE49-F238E27FC236}">
                  <a16:creationId xmlns:a16="http://schemas.microsoft.com/office/drawing/2014/main" id="{F1E7AA97-8193-4967-A14B-6D88CFB95D9A}"/>
                </a:ext>
              </a:extLst>
            </p:cNvPr>
            <p:cNvSpPr>
              <a:spLocks noChangeAspect="1"/>
            </p:cNvSpPr>
            <p:nvPr/>
          </p:nvSpPr>
          <p:spPr>
            <a:xfrm>
              <a:off x="8126800" y="3018119"/>
              <a:ext cx="1716710" cy="1716710"/>
            </a:xfrm>
            <a:prstGeom prst="donut">
              <a:avLst>
                <a:gd name="adj" fmla="val 7139"/>
              </a:avLst>
            </a:prstGeom>
            <a:solidFill>
              <a:srgbClr val="66C9EE"/>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74" name="Group 273">
              <a:extLst>
                <a:ext uri="{FF2B5EF4-FFF2-40B4-BE49-F238E27FC236}">
                  <a16:creationId xmlns:a16="http://schemas.microsoft.com/office/drawing/2014/main" id="{7D823496-D29C-480B-A4B8-F65D24B23AA2}"/>
                </a:ext>
              </a:extLst>
            </p:cNvPr>
            <p:cNvGrpSpPr/>
            <p:nvPr/>
          </p:nvGrpSpPr>
          <p:grpSpPr>
            <a:xfrm>
              <a:off x="8897635" y="2855911"/>
              <a:ext cx="175040" cy="2041126"/>
              <a:chOff x="8229799" y="2768458"/>
              <a:chExt cx="175040" cy="2041126"/>
            </a:xfrm>
            <a:solidFill>
              <a:srgbClr val="66C9EE"/>
            </a:solidFill>
          </p:grpSpPr>
          <p:sp>
            <p:nvSpPr>
              <p:cNvPr id="291" name="Trapezoid 290">
                <a:extLst>
                  <a:ext uri="{FF2B5EF4-FFF2-40B4-BE49-F238E27FC236}">
                    <a16:creationId xmlns:a16="http://schemas.microsoft.com/office/drawing/2014/main" id="{23989E1E-2551-4E76-AA05-97834E2E809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2" name="Trapezoid 291">
                <a:extLst>
                  <a:ext uri="{FF2B5EF4-FFF2-40B4-BE49-F238E27FC236}">
                    <a16:creationId xmlns:a16="http://schemas.microsoft.com/office/drawing/2014/main" id="{141F551E-D52B-4D93-9E5A-9607542C36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5" name="Group 274">
              <a:extLst>
                <a:ext uri="{FF2B5EF4-FFF2-40B4-BE49-F238E27FC236}">
                  <a16:creationId xmlns:a16="http://schemas.microsoft.com/office/drawing/2014/main" id="{38D44D16-4026-4D21-9EEB-88ED9F6A563B}"/>
                </a:ext>
              </a:extLst>
            </p:cNvPr>
            <p:cNvGrpSpPr/>
            <p:nvPr/>
          </p:nvGrpSpPr>
          <p:grpSpPr>
            <a:xfrm rot="5400000">
              <a:off x="8897635" y="2855911"/>
              <a:ext cx="175040" cy="2041126"/>
              <a:chOff x="8229799" y="2768458"/>
              <a:chExt cx="175040" cy="2041126"/>
            </a:xfrm>
            <a:solidFill>
              <a:srgbClr val="66C9EE"/>
            </a:solidFill>
          </p:grpSpPr>
          <p:sp>
            <p:nvSpPr>
              <p:cNvPr id="289" name="Trapezoid 288">
                <a:extLst>
                  <a:ext uri="{FF2B5EF4-FFF2-40B4-BE49-F238E27FC236}">
                    <a16:creationId xmlns:a16="http://schemas.microsoft.com/office/drawing/2014/main" id="{D7F08A54-0E98-44A0-8FFB-1E646F17824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0" name="Trapezoid 289">
                <a:extLst>
                  <a:ext uri="{FF2B5EF4-FFF2-40B4-BE49-F238E27FC236}">
                    <a16:creationId xmlns:a16="http://schemas.microsoft.com/office/drawing/2014/main" id="{2A259190-B785-4AE8-890D-32942400AEFF}"/>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6" name="Group 275">
              <a:extLst>
                <a:ext uri="{FF2B5EF4-FFF2-40B4-BE49-F238E27FC236}">
                  <a16:creationId xmlns:a16="http://schemas.microsoft.com/office/drawing/2014/main" id="{70D03D45-4FD9-4747-8ADA-710B505E6CEB}"/>
                </a:ext>
              </a:extLst>
            </p:cNvPr>
            <p:cNvGrpSpPr/>
            <p:nvPr/>
          </p:nvGrpSpPr>
          <p:grpSpPr>
            <a:xfrm rot="1800000">
              <a:off x="8897636" y="2855911"/>
              <a:ext cx="175040" cy="2041126"/>
              <a:chOff x="8229799" y="2768458"/>
              <a:chExt cx="175040" cy="2041126"/>
            </a:xfrm>
            <a:solidFill>
              <a:srgbClr val="66C9EE"/>
            </a:solidFill>
          </p:grpSpPr>
          <p:sp>
            <p:nvSpPr>
              <p:cNvPr id="287" name="Trapezoid 286">
                <a:extLst>
                  <a:ext uri="{FF2B5EF4-FFF2-40B4-BE49-F238E27FC236}">
                    <a16:creationId xmlns:a16="http://schemas.microsoft.com/office/drawing/2014/main" id="{4A1FD89D-58DA-4B99-8E21-DC774C5A85E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8" name="Trapezoid 287">
                <a:extLst>
                  <a:ext uri="{FF2B5EF4-FFF2-40B4-BE49-F238E27FC236}">
                    <a16:creationId xmlns:a16="http://schemas.microsoft.com/office/drawing/2014/main" id="{6A770388-048A-4031-95EA-E99401CBE7C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7" name="Group 276">
              <a:extLst>
                <a:ext uri="{FF2B5EF4-FFF2-40B4-BE49-F238E27FC236}">
                  <a16:creationId xmlns:a16="http://schemas.microsoft.com/office/drawing/2014/main" id="{82D3600F-8F1B-4058-BD1F-D546D1F6DB7F}"/>
                </a:ext>
              </a:extLst>
            </p:cNvPr>
            <p:cNvGrpSpPr/>
            <p:nvPr/>
          </p:nvGrpSpPr>
          <p:grpSpPr>
            <a:xfrm rot="3600000">
              <a:off x="8897635" y="2855912"/>
              <a:ext cx="175040" cy="2041126"/>
              <a:chOff x="8229799" y="2768458"/>
              <a:chExt cx="175040" cy="2041126"/>
            </a:xfrm>
            <a:solidFill>
              <a:srgbClr val="66C9EE"/>
            </a:solidFill>
          </p:grpSpPr>
          <p:sp>
            <p:nvSpPr>
              <p:cNvPr id="285" name="Trapezoid 284">
                <a:extLst>
                  <a:ext uri="{FF2B5EF4-FFF2-40B4-BE49-F238E27FC236}">
                    <a16:creationId xmlns:a16="http://schemas.microsoft.com/office/drawing/2014/main" id="{F7A504F5-0A9C-4F4E-8EDD-18CA3F5EBC4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6" name="Trapezoid 285">
                <a:extLst>
                  <a:ext uri="{FF2B5EF4-FFF2-40B4-BE49-F238E27FC236}">
                    <a16:creationId xmlns:a16="http://schemas.microsoft.com/office/drawing/2014/main" id="{9810034B-6622-44C0-A348-DA791796AC1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8" name="Group 277">
              <a:extLst>
                <a:ext uri="{FF2B5EF4-FFF2-40B4-BE49-F238E27FC236}">
                  <a16:creationId xmlns:a16="http://schemas.microsoft.com/office/drawing/2014/main" id="{80EAE1E0-ABE2-454A-BAE1-6873CECADC8A}"/>
                </a:ext>
              </a:extLst>
            </p:cNvPr>
            <p:cNvGrpSpPr/>
            <p:nvPr/>
          </p:nvGrpSpPr>
          <p:grpSpPr>
            <a:xfrm rot="7200000">
              <a:off x="8897635" y="2855912"/>
              <a:ext cx="175040" cy="2041126"/>
              <a:chOff x="8229799" y="2768458"/>
              <a:chExt cx="175040" cy="2041126"/>
            </a:xfrm>
            <a:solidFill>
              <a:srgbClr val="66C9EE"/>
            </a:solidFill>
          </p:grpSpPr>
          <p:sp>
            <p:nvSpPr>
              <p:cNvPr id="283" name="Trapezoid 282">
                <a:extLst>
                  <a:ext uri="{FF2B5EF4-FFF2-40B4-BE49-F238E27FC236}">
                    <a16:creationId xmlns:a16="http://schemas.microsoft.com/office/drawing/2014/main" id="{C8D6490E-CA8F-4DEE-90D0-65B48B801F71}"/>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4" name="Trapezoid 283">
                <a:extLst>
                  <a:ext uri="{FF2B5EF4-FFF2-40B4-BE49-F238E27FC236}">
                    <a16:creationId xmlns:a16="http://schemas.microsoft.com/office/drawing/2014/main" id="{6BE64EE0-8748-4DA9-B643-ACD2B23450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9" name="Group 278">
              <a:extLst>
                <a:ext uri="{FF2B5EF4-FFF2-40B4-BE49-F238E27FC236}">
                  <a16:creationId xmlns:a16="http://schemas.microsoft.com/office/drawing/2014/main" id="{CD5EC0DD-5261-4298-8FAA-F7FC4B62367E}"/>
                </a:ext>
              </a:extLst>
            </p:cNvPr>
            <p:cNvGrpSpPr/>
            <p:nvPr/>
          </p:nvGrpSpPr>
          <p:grpSpPr>
            <a:xfrm rot="9000000">
              <a:off x="8897636" y="2855911"/>
              <a:ext cx="175040" cy="2041126"/>
              <a:chOff x="8229799" y="2768458"/>
              <a:chExt cx="175040" cy="2041126"/>
            </a:xfrm>
            <a:solidFill>
              <a:srgbClr val="66C9EE"/>
            </a:solidFill>
          </p:grpSpPr>
          <p:sp>
            <p:nvSpPr>
              <p:cNvPr id="281" name="Trapezoid 280">
                <a:extLst>
                  <a:ext uri="{FF2B5EF4-FFF2-40B4-BE49-F238E27FC236}">
                    <a16:creationId xmlns:a16="http://schemas.microsoft.com/office/drawing/2014/main" id="{CE0CA519-B72B-4881-9B44-8DB4382A8563}"/>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2" name="Trapezoid 281">
                <a:extLst>
                  <a:ext uri="{FF2B5EF4-FFF2-40B4-BE49-F238E27FC236}">
                    <a16:creationId xmlns:a16="http://schemas.microsoft.com/office/drawing/2014/main" id="{E7977456-F1DB-4EEB-9079-4585629E4A2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80" name="Oval 279">
              <a:extLst>
                <a:ext uri="{FF2B5EF4-FFF2-40B4-BE49-F238E27FC236}">
                  <a16:creationId xmlns:a16="http://schemas.microsoft.com/office/drawing/2014/main" id="{5FA317CC-2335-4C89-91BB-8DF93E3F920F}"/>
                </a:ext>
              </a:extLst>
            </p:cNvPr>
            <p:cNvSpPr>
              <a:spLocks noChangeAspect="1"/>
            </p:cNvSpPr>
            <p:nvPr/>
          </p:nvSpPr>
          <p:spPr>
            <a:xfrm>
              <a:off x="8278741" y="3175844"/>
              <a:ext cx="1408186" cy="1408186"/>
            </a:xfrm>
            <a:prstGeom prst="ellipse">
              <a:avLst/>
            </a:prstGeom>
            <a:solidFill>
              <a:srgbClr val="FFFFFF"/>
            </a:solidFill>
            <a:ln w="76200" cap="flat" cmpd="sng" algn="ctr">
              <a:solidFill>
                <a:srgbClr val="66C9EE">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66C9EE"/>
                </a:solidFill>
                <a:effectLst/>
                <a:uLnTx/>
                <a:uFillTx/>
                <a:latin typeface="Arial"/>
                <a:ea typeface="Arial Unicode MS"/>
                <a:cs typeface="Arial Unicode MS"/>
              </a:endParaRPr>
            </a:p>
          </p:txBody>
        </p:sp>
      </p:grpSp>
      <p:sp>
        <p:nvSpPr>
          <p:cNvPr id="314" name="Arc 313">
            <a:extLst>
              <a:ext uri="{FF2B5EF4-FFF2-40B4-BE49-F238E27FC236}">
                <a16:creationId xmlns:a16="http://schemas.microsoft.com/office/drawing/2014/main" id="{74B269B8-4FA6-4297-80FB-6BB753809CBB}"/>
              </a:ext>
            </a:extLst>
          </p:cNvPr>
          <p:cNvSpPr/>
          <p:nvPr/>
        </p:nvSpPr>
        <p:spPr>
          <a:xfrm>
            <a:off x="2997345"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5" name="Arc 314">
            <a:extLst>
              <a:ext uri="{FF2B5EF4-FFF2-40B4-BE49-F238E27FC236}">
                <a16:creationId xmlns:a16="http://schemas.microsoft.com/office/drawing/2014/main" id="{86886464-AF17-419C-B629-F51CF76ABCF1}"/>
              </a:ext>
            </a:extLst>
          </p:cNvPr>
          <p:cNvSpPr/>
          <p:nvPr/>
        </p:nvSpPr>
        <p:spPr>
          <a:xfrm>
            <a:off x="5496020"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7" name="Arc 316">
            <a:extLst>
              <a:ext uri="{FF2B5EF4-FFF2-40B4-BE49-F238E27FC236}">
                <a16:creationId xmlns:a16="http://schemas.microsoft.com/office/drawing/2014/main" id="{54509321-67DA-4B61-A376-0A1A543DD867}"/>
              </a:ext>
            </a:extLst>
          </p:cNvPr>
          <p:cNvSpPr/>
          <p:nvPr/>
        </p:nvSpPr>
        <p:spPr>
          <a:xfrm rot="10800000">
            <a:off x="6715288"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8" name="Arc 317">
            <a:extLst>
              <a:ext uri="{FF2B5EF4-FFF2-40B4-BE49-F238E27FC236}">
                <a16:creationId xmlns:a16="http://schemas.microsoft.com/office/drawing/2014/main" id="{B91877CD-760B-4F1C-B2DD-10ADF01E3767}"/>
              </a:ext>
            </a:extLst>
          </p:cNvPr>
          <p:cNvSpPr/>
          <p:nvPr/>
        </p:nvSpPr>
        <p:spPr>
          <a:xfrm rot="10800000">
            <a:off x="4216612"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nvGrpSpPr>
          <p:cNvPr id="319" name="Customer_satisfaction2" descr="{&quot;Key&quot;:&quot;POWER_USER_SHAPE_ICON&quot;,&quot;Value&quot;:&quot;POWER_USER_SHAPE_ICON_STYLE_1&quot;}">
            <a:extLst>
              <a:ext uri="{FF2B5EF4-FFF2-40B4-BE49-F238E27FC236}">
                <a16:creationId xmlns:a16="http://schemas.microsoft.com/office/drawing/2014/main" id="{A3018473-1475-4B5E-A77C-7A477DF3DA4F}"/>
              </a:ext>
            </a:extLst>
          </p:cNvPr>
          <p:cNvGrpSpPr>
            <a:grpSpLocks noChangeAspect="1"/>
          </p:cNvGrpSpPr>
          <p:nvPr>
            <p:custDataLst>
              <p:tags r:id="rId3"/>
            </p:custDataLst>
          </p:nvPr>
        </p:nvGrpSpPr>
        <p:grpSpPr>
          <a:xfrm>
            <a:off x="3419930" y="3848233"/>
            <a:ext cx="351358" cy="542929"/>
            <a:chOff x="2518372" y="1775368"/>
            <a:chExt cx="257466" cy="397844"/>
          </a:xfrm>
          <a:solidFill>
            <a:srgbClr val="002856"/>
          </a:solidFill>
        </p:grpSpPr>
        <p:sp>
          <p:nvSpPr>
            <p:cNvPr id="320" name="Facebook_like">
              <a:extLst>
                <a:ext uri="{FF2B5EF4-FFF2-40B4-BE49-F238E27FC236}">
                  <a16:creationId xmlns:a16="http://schemas.microsoft.com/office/drawing/2014/main" id="{44770D3F-4A23-4ABF-95A5-3437A24DE026}"/>
                </a:ext>
              </a:extLst>
            </p:cNvPr>
            <p:cNvSpPr>
              <a:spLocks noChangeAspect="1" noChangeArrowheads="1"/>
            </p:cNvSpPr>
            <p:nvPr>
              <p:custDataLst>
                <p:tags r:id="rId4"/>
              </p:custDataLst>
            </p:nvPr>
          </p:nvSpPr>
          <p:spPr bwMode="auto">
            <a:xfrm>
              <a:off x="2526645" y="1963891"/>
              <a:ext cx="227891" cy="209321"/>
            </a:xfrm>
            <a:custGeom>
              <a:avLst/>
              <a:gdLst>
                <a:gd name="T0" fmla="*/ 0 w 597"/>
                <a:gd name="T1" fmla="*/ 544 h 545"/>
                <a:gd name="T2" fmla="*/ 109 w 597"/>
                <a:gd name="T3" fmla="*/ 544 h 545"/>
                <a:gd name="T4" fmla="*/ 109 w 597"/>
                <a:gd name="T5" fmla="*/ 218 h 545"/>
                <a:gd name="T6" fmla="*/ 0 w 597"/>
                <a:gd name="T7" fmla="*/ 218 h 545"/>
                <a:gd name="T8" fmla="*/ 0 w 597"/>
                <a:gd name="T9" fmla="*/ 544 h 545"/>
                <a:gd name="T10" fmla="*/ 596 w 597"/>
                <a:gd name="T11" fmla="*/ 243 h 545"/>
                <a:gd name="T12" fmla="*/ 539 w 597"/>
                <a:gd name="T13" fmla="*/ 192 h 545"/>
                <a:gd name="T14" fmla="*/ 368 w 597"/>
                <a:gd name="T15" fmla="*/ 192 h 545"/>
                <a:gd name="T16" fmla="*/ 399 w 597"/>
                <a:gd name="T17" fmla="*/ 62 h 545"/>
                <a:gd name="T18" fmla="*/ 399 w 597"/>
                <a:gd name="T19" fmla="*/ 57 h 545"/>
                <a:gd name="T20" fmla="*/ 389 w 597"/>
                <a:gd name="T21" fmla="*/ 26 h 545"/>
                <a:gd name="T22" fmla="*/ 358 w 597"/>
                <a:gd name="T23" fmla="*/ 0 h 545"/>
                <a:gd name="T24" fmla="*/ 176 w 597"/>
                <a:gd name="T25" fmla="*/ 176 h 545"/>
                <a:gd name="T26" fmla="*/ 161 w 597"/>
                <a:gd name="T27" fmla="*/ 218 h 545"/>
                <a:gd name="T28" fmla="*/ 161 w 597"/>
                <a:gd name="T29" fmla="*/ 487 h 545"/>
                <a:gd name="T30" fmla="*/ 218 w 597"/>
                <a:gd name="T31" fmla="*/ 544 h 545"/>
                <a:gd name="T32" fmla="*/ 461 w 597"/>
                <a:gd name="T33" fmla="*/ 544 h 545"/>
                <a:gd name="T34" fmla="*/ 508 w 597"/>
                <a:gd name="T35" fmla="*/ 508 h 545"/>
                <a:gd name="T36" fmla="*/ 591 w 597"/>
                <a:gd name="T37" fmla="*/ 316 h 545"/>
                <a:gd name="T38" fmla="*/ 591 w 597"/>
                <a:gd name="T39" fmla="*/ 295 h 545"/>
                <a:gd name="T40" fmla="*/ 591 w 597"/>
                <a:gd name="T41" fmla="*/ 243 h 545"/>
                <a:gd name="T42" fmla="*/ 596 w 597"/>
                <a:gd name="T43" fmla="*/ 243 h 5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97" h="545">
                  <a:moveTo>
                    <a:pt x="0" y="544"/>
                  </a:moveTo>
                  <a:lnTo>
                    <a:pt x="109" y="544"/>
                  </a:lnTo>
                  <a:lnTo>
                    <a:pt x="109" y="218"/>
                  </a:lnTo>
                  <a:lnTo>
                    <a:pt x="0" y="218"/>
                  </a:lnTo>
                  <a:lnTo>
                    <a:pt x="0" y="544"/>
                  </a:lnTo>
                  <a:close/>
                  <a:moveTo>
                    <a:pt x="596" y="243"/>
                  </a:moveTo>
                  <a:cubicBezTo>
                    <a:pt x="596" y="212"/>
                    <a:pt x="570" y="192"/>
                    <a:pt x="539" y="192"/>
                  </a:cubicBezTo>
                  <a:lnTo>
                    <a:pt x="368" y="192"/>
                  </a:lnTo>
                  <a:lnTo>
                    <a:pt x="399" y="62"/>
                  </a:lnTo>
                  <a:lnTo>
                    <a:pt x="399" y="57"/>
                  </a:lnTo>
                  <a:cubicBezTo>
                    <a:pt x="399" y="46"/>
                    <a:pt x="394" y="36"/>
                    <a:pt x="389" y="26"/>
                  </a:cubicBezTo>
                  <a:lnTo>
                    <a:pt x="358" y="0"/>
                  </a:lnTo>
                  <a:lnTo>
                    <a:pt x="176" y="176"/>
                  </a:lnTo>
                  <a:cubicBezTo>
                    <a:pt x="166" y="186"/>
                    <a:pt x="161" y="202"/>
                    <a:pt x="161" y="218"/>
                  </a:cubicBezTo>
                  <a:lnTo>
                    <a:pt x="161" y="487"/>
                  </a:lnTo>
                  <a:cubicBezTo>
                    <a:pt x="161" y="518"/>
                    <a:pt x="187" y="544"/>
                    <a:pt x="218" y="544"/>
                  </a:cubicBezTo>
                  <a:lnTo>
                    <a:pt x="461" y="544"/>
                  </a:lnTo>
                  <a:cubicBezTo>
                    <a:pt x="482" y="544"/>
                    <a:pt x="503" y="529"/>
                    <a:pt x="508" y="508"/>
                  </a:cubicBezTo>
                  <a:lnTo>
                    <a:pt x="591" y="316"/>
                  </a:lnTo>
                  <a:cubicBezTo>
                    <a:pt x="591" y="311"/>
                    <a:pt x="591" y="306"/>
                    <a:pt x="591" y="295"/>
                  </a:cubicBezTo>
                  <a:lnTo>
                    <a:pt x="591" y="243"/>
                  </a:lnTo>
                  <a:lnTo>
                    <a:pt x="596" y="243"/>
                  </a:lnTo>
                  <a:close/>
                </a:path>
              </a:pathLst>
            </a:custGeom>
            <a:grpFill/>
            <a:ln>
              <a:noFill/>
            </a:ln>
            <a:effectLst/>
          </p:spPr>
          <p:txBody>
            <a:bodyPr wrap="none" anchor="ct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grpSp>
          <p:nvGrpSpPr>
            <p:cNvPr id="321" name="Group 320">
              <a:extLst>
                <a:ext uri="{FF2B5EF4-FFF2-40B4-BE49-F238E27FC236}">
                  <a16:creationId xmlns:a16="http://schemas.microsoft.com/office/drawing/2014/main" id="{AB508569-7D85-4712-82C4-9690B15E959A}"/>
                </a:ext>
              </a:extLst>
            </p:cNvPr>
            <p:cNvGrpSpPr>
              <a:grpSpLocks noChangeAspect="1"/>
            </p:cNvGrpSpPr>
            <p:nvPr/>
          </p:nvGrpSpPr>
          <p:grpSpPr>
            <a:xfrm>
              <a:off x="2518372" y="1775368"/>
              <a:ext cx="257466" cy="187685"/>
              <a:chOff x="2343559" y="1553051"/>
              <a:chExt cx="607092" cy="442555"/>
            </a:xfrm>
            <a:grpFill/>
          </p:grpSpPr>
          <p:sp>
            <p:nvSpPr>
              <p:cNvPr id="322" name="Star3">
                <a:extLst>
                  <a:ext uri="{FF2B5EF4-FFF2-40B4-BE49-F238E27FC236}">
                    <a16:creationId xmlns:a16="http://schemas.microsoft.com/office/drawing/2014/main" id="{EC167E81-BFB6-4E2A-AF0D-2737EB0B1E6D}"/>
                  </a:ext>
                </a:extLst>
              </p:cNvPr>
              <p:cNvSpPr>
                <a:spLocks noChangeAspect="1"/>
              </p:cNvSpPr>
              <p:nvPr>
                <p:custDataLst>
                  <p:tags r:id="rId5"/>
                </p:custDataLst>
              </p:nvPr>
            </p:nvSpPr>
            <p:spPr bwMode="auto">
              <a:xfrm>
                <a:off x="2708475" y="1765353"/>
                <a:ext cx="242176" cy="230253"/>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sp>
            <p:nvSpPr>
              <p:cNvPr id="323" name="Star3">
                <a:extLst>
                  <a:ext uri="{FF2B5EF4-FFF2-40B4-BE49-F238E27FC236}">
                    <a16:creationId xmlns:a16="http://schemas.microsoft.com/office/drawing/2014/main" id="{68C552E9-D5C8-41E6-9A3B-C01E0008FDA4}"/>
                  </a:ext>
                </a:extLst>
              </p:cNvPr>
              <p:cNvSpPr>
                <a:spLocks noChangeAspect="1"/>
              </p:cNvSpPr>
              <p:nvPr>
                <p:custDataLst>
                  <p:tags r:id="rId6"/>
                </p:custDataLst>
              </p:nvPr>
            </p:nvSpPr>
            <p:spPr bwMode="auto">
              <a:xfrm>
                <a:off x="2343559" y="1765353"/>
                <a:ext cx="242176" cy="230253"/>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sp>
            <p:nvSpPr>
              <p:cNvPr id="324" name="Star3">
                <a:extLst>
                  <a:ext uri="{FF2B5EF4-FFF2-40B4-BE49-F238E27FC236}">
                    <a16:creationId xmlns:a16="http://schemas.microsoft.com/office/drawing/2014/main" id="{6DC4AF75-24C9-401B-9C44-EA09AC3D08DF}"/>
                  </a:ext>
                </a:extLst>
              </p:cNvPr>
              <p:cNvSpPr>
                <a:spLocks noChangeAspect="1"/>
              </p:cNvSpPr>
              <p:nvPr>
                <p:custDataLst>
                  <p:tags r:id="rId7"/>
                </p:custDataLst>
              </p:nvPr>
            </p:nvSpPr>
            <p:spPr bwMode="auto">
              <a:xfrm>
                <a:off x="2526017" y="1553051"/>
                <a:ext cx="242176" cy="230253"/>
              </a:xfrm>
              <a:custGeom>
                <a:avLst/>
                <a:gdLst>
                  <a:gd name="T0" fmla="*/ 666 w 706"/>
                  <a:gd name="T1" fmla="*/ 223 h 670"/>
                  <a:gd name="T2" fmla="*/ 477 w 706"/>
                  <a:gd name="T3" fmla="*/ 195 h 670"/>
                  <a:gd name="T4" fmla="*/ 393 w 706"/>
                  <a:gd name="T5" fmla="*/ 24 h 670"/>
                  <a:gd name="T6" fmla="*/ 353 w 706"/>
                  <a:gd name="T7" fmla="*/ 0 h 670"/>
                  <a:gd name="T8" fmla="*/ 314 w 706"/>
                  <a:gd name="T9" fmla="*/ 24 h 670"/>
                  <a:gd name="T10" fmla="*/ 230 w 706"/>
                  <a:gd name="T11" fmla="*/ 195 h 670"/>
                  <a:gd name="T12" fmla="*/ 41 w 706"/>
                  <a:gd name="T13" fmla="*/ 223 h 670"/>
                  <a:gd name="T14" fmla="*/ 5 w 706"/>
                  <a:gd name="T15" fmla="*/ 252 h 670"/>
                  <a:gd name="T16" fmla="*/ 17 w 706"/>
                  <a:gd name="T17" fmla="*/ 297 h 670"/>
                  <a:gd name="T18" fmla="*/ 153 w 706"/>
                  <a:gd name="T19" fmla="*/ 430 h 670"/>
                  <a:gd name="T20" fmla="*/ 121 w 706"/>
                  <a:gd name="T21" fmla="*/ 618 h 670"/>
                  <a:gd name="T22" fmla="*/ 138 w 706"/>
                  <a:gd name="T23" fmla="*/ 661 h 670"/>
                  <a:gd name="T24" fmla="*/ 164 w 706"/>
                  <a:gd name="T25" fmla="*/ 670 h 670"/>
                  <a:gd name="T26" fmla="*/ 184 w 706"/>
                  <a:gd name="T27" fmla="*/ 665 h 670"/>
                  <a:gd name="T28" fmla="*/ 353 w 706"/>
                  <a:gd name="T29" fmla="*/ 576 h 670"/>
                  <a:gd name="T30" fmla="*/ 522 w 706"/>
                  <a:gd name="T31" fmla="*/ 665 h 670"/>
                  <a:gd name="T32" fmla="*/ 543 w 706"/>
                  <a:gd name="T33" fmla="*/ 670 h 670"/>
                  <a:gd name="T34" fmla="*/ 568 w 706"/>
                  <a:gd name="T35" fmla="*/ 661 h 670"/>
                  <a:gd name="T36" fmla="*/ 586 w 706"/>
                  <a:gd name="T37" fmla="*/ 618 h 670"/>
                  <a:gd name="T38" fmla="*/ 554 w 706"/>
                  <a:gd name="T39" fmla="*/ 430 h 670"/>
                  <a:gd name="T40" fmla="*/ 690 w 706"/>
                  <a:gd name="T41" fmla="*/ 297 h 670"/>
                  <a:gd name="T42" fmla="*/ 701 w 706"/>
                  <a:gd name="T43" fmla="*/ 252 h 670"/>
                  <a:gd name="T44" fmla="*/ 666 w 706"/>
                  <a:gd name="T45" fmla="*/ 223 h 6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6" h="670">
                    <a:moveTo>
                      <a:pt x="666" y="223"/>
                    </a:moveTo>
                    <a:lnTo>
                      <a:pt x="477" y="195"/>
                    </a:lnTo>
                    <a:lnTo>
                      <a:pt x="393" y="24"/>
                    </a:lnTo>
                    <a:cubicBezTo>
                      <a:pt x="385" y="9"/>
                      <a:pt x="370" y="0"/>
                      <a:pt x="353" y="0"/>
                    </a:cubicBezTo>
                    <a:cubicBezTo>
                      <a:pt x="337" y="0"/>
                      <a:pt x="321" y="9"/>
                      <a:pt x="314" y="24"/>
                    </a:cubicBezTo>
                    <a:lnTo>
                      <a:pt x="230" y="195"/>
                    </a:lnTo>
                    <a:lnTo>
                      <a:pt x="41" y="223"/>
                    </a:lnTo>
                    <a:cubicBezTo>
                      <a:pt x="24" y="225"/>
                      <a:pt x="11" y="237"/>
                      <a:pt x="5" y="252"/>
                    </a:cubicBezTo>
                    <a:cubicBezTo>
                      <a:pt x="0" y="268"/>
                      <a:pt x="5" y="286"/>
                      <a:pt x="17" y="297"/>
                    </a:cubicBezTo>
                    <a:lnTo>
                      <a:pt x="153" y="430"/>
                    </a:lnTo>
                    <a:lnTo>
                      <a:pt x="121" y="618"/>
                    </a:lnTo>
                    <a:cubicBezTo>
                      <a:pt x="118" y="635"/>
                      <a:pt x="125" y="652"/>
                      <a:pt x="138" y="661"/>
                    </a:cubicBezTo>
                    <a:cubicBezTo>
                      <a:pt x="146" y="667"/>
                      <a:pt x="155" y="670"/>
                      <a:pt x="164" y="670"/>
                    </a:cubicBezTo>
                    <a:cubicBezTo>
                      <a:pt x="171" y="670"/>
                      <a:pt x="178" y="668"/>
                      <a:pt x="184" y="665"/>
                    </a:cubicBezTo>
                    <a:lnTo>
                      <a:pt x="353" y="576"/>
                    </a:lnTo>
                    <a:lnTo>
                      <a:pt x="522" y="665"/>
                    </a:lnTo>
                    <a:cubicBezTo>
                      <a:pt x="529" y="668"/>
                      <a:pt x="536" y="670"/>
                      <a:pt x="543" y="670"/>
                    </a:cubicBezTo>
                    <a:cubicBezTo>
                      <a:pt x="552" y="670"/>
                      <a:pt x="561" y="667"/>
                      <a:pt x="568" y="661"/>
                    </a:cubicBezTo>
                    <a:cubicBezTo>
                      <a:pt x="582" y="652"/>
                      <a:pt x="589" y="635"/>
                      <a:pt x="586" y="618"/>
                    </a:cubicBezTo>
                    <a:lnTo>
                      <a:pt x="554" y="430"/>
                    </a:lnTo>
                    <a:lnTo>
                      <a:pt x="690" y="297"/>
                    </a:lnTo>
                    <a:cubicBezTo>
                      <a:pt x="702" y="286"/>
                      <a:pt x="706" y="268"/>
                      <a:pt x="701" y="252"/>
                    </a:cubicBezTo>
                    <a:cubicBezTo>
                      <a:pt x="696" y="237"/>
                      <a:pt x="682" y="225"/>
                      <a:pt x="666" y="223"/>
                    </a:cubicBez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black"/>
                  </a:solidFill>
                  <a:effectLst/>
                  <a:uLnTx/>
                  <a:uFillTx/>
                  <a:latin typeface="Calibri" panose="020F0502020204030204"/>
                  <a:ea typeface="+mn-ea"/>
                  <a:cs typeface="+mn-cs"/>
                </a:endParaRPr>
              </a:p>
            </p:txBody>
          </p:sp>
        </p:grpSp>
      </p:grpSp>
      <p:sp>
        <p:nvSpPr>
          <p:cNvPr id="388" name="Caution" descr="{&quot;Key&quot;:&quot;POWER_USER_SHAPE_ICON&quot;,&quot;Value&quot;:&quot;POWER_USER_SHAPE_ICON_STYLE_1&quot;}">
            <a:extLst>
              <a:ext uri="{FF2B5EF4-FFF2-40B4-BE49-F238E27FC236}">
                <a16:creationId xmlns:a16="http://schemas.microsoft.com/office/drawing/2014/main" id="{27EE0F9A-2AA8-4DE9-9220-76298582088D}"/>
              </a:ext>
            </a:extLst>
          </p:cNvPr>
          <p:cNvSpPr>
            <a:spLocks noChangeAspect="1"/>
          </p:cNvSpPr>
          <p:nvPr/>
        </p:nvSpPr>
        <p:spPr>
          <a:xfrm>
            <a:off x="4530908" y="3792819"/>
            <a:ext cx="629793" cy="542925"/>
          </a:xfrm>
          <a:custGeom>
            <a:avLst/>
            <a:gdLst>
              <a:gd name="connsiteX0" fmla="*/ 957551 w 1915105"/>
              <a:gd name="connsiteY0" fmla="*/ 1312007 h 1650953"/>
              <a:gd name="connsiteX1" fmla="*/ 1058240 w 1915105"/>
              <a:gd name="connsiteY1" fmla="*/ 1412696 h 1650953"/>
              <a:gd name="connsiteX2" fmla="*/ 957551 w 1915105"/>
              <a:gd name="connsiteY2" fmla="*/ 1513385 h 1650953"/>
              <a:gd name="connsiteX3" fmla="*/ 856862 w 1915105"/>
              <a:gd name="connsiteY3" fmla="*/ 1412696 h 1650953"/>
              <a:gd name="connsiteX4" fmla="*/ 957551 w 1915105"/>
              <a:gd name="connsiteY4" fmla="*/ 1312007 h 1650953"/>
              <a:gd name="connsiteX5" fmla="*/ 957553 w 1915105"/>
              <a:gd name="connsiteY5" fmla="*/ 439775 h 1650953"/>
              <a:gd name="connsiteX6" fmla="*/ 1026486 w 1915105"/>
              <a:gd name="connsiteY6" fmla="*/ 508708 h 1650953"/>
              <a:gd name="connsiteX7" fmla="*/ 1026485 w 1915105"/>
              <a:gd name="connsiteY7" fmla="*/ 1135578 h 1650953"/>
              <a:gd name="connsiteX8" fmla="*/ 957552 w 1915105"/>
              <a:gd name="connsiteY8" fmla="*/ 1204511 h 1650953"/>
              <a:gd name="connsiteX9" fmla="*/ 957553 w 1915105"/>
              <a:gd name="connsiteY9" fmla="*/ 1204510 h 1650953"/>
              <a:gd name="connsiteX10" fmla="*/ 888620 w 1915105"/>
              <a:gd name="connsiteY10" fmla="*/ 1135577 h 1650953"/>
              <a:gd name="connsiteX11" fmla="*/ 888620 w 1915105"/>
              <a:gd name="connsiteY11" fmla="*/ 508708 h 1650953"/>
              <a:gd name="connsiteX12" fmla="*/ 957553 w 1915105"/>
              <a:gd name="connsiteY12" fmla="*/ 439775 h 1650953"/>
              <a:gd name="connsiteX13" fmla="*/ 957553 w 1915105"/>
              <a:gd name="connsiteY13" fmla="*/ 100443 h 1650953"/>
              <a:gd name="connsiteX14" fmla="*/ 87050 w 1915105"/>
              <a:gd name="connsiteY14" fmla="*/ 1601309 h 1650953"/>
              <a:gd name="connsiteX15" fmla="*/ 1828055 w 1915105"/>
              <a:gd name="connsiteY15" fmla="*/ 1601309 h 1650953"/>
              <a:gd name="connsiteX16" fmla="*/ 957553 w 1915105"/>
              <a:gd name="connsiteY16" fmla="*/ 0 h 1650953"/>
              <a:gd name="connsiteX17" fmla="*/ 1915105 w 1915105"/>
              <a:gd name="connsiteY17" fmla="*/ 1650953 h 1650953"/>
              <a:gd name="connsiteX18" fmla="*/ 0 w 1915105"/>
              <a:gd name="connsiteY18" fmla="*/ 1650953 h 16509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915105" h="1650953">
                <a:moveTo>
                  <a:pt x="957551" y="1312007"/>
                </a:moveTo>
                <a:cubicBezTo>
                  <a:pt x="1013160" y="1312007"/>
                  <a:pt x="1058240" y="1357087"/>
                  <a:pt x="1058240" y="1412696"/>
                </a:cubicBezTo>
                <a:cubicBezTo>
                  <a:pt x="1058240" y="1468305"/>
                  <a:pt x="1013160" y="1513385"/>
                  <a:pt x="957551" y="1513385"/>
                </a:cubicBezTo>
                <a:cubicBezTo>
                  <a:pt x="901942" y="1513385"/>
                  <a:pt x="856862" y="1468305"/>
                  <a:pt x="856862" y="1412696"/>
                </a:cubicBezTo>
                <a:cubicBezTo>
                  <a:pt x="856862" y="1357087"/>
                  <a:pt x="901942" y="1312007"/>
                  <a:pt x="957551" y="1312007"/>
                </a:cubicBezTo>
                <a:close/>
                <a:moveTo>
                  <a:pt x="957553" y="439775"/>
                </a:moveTo>
                <a:cubicBezTo>
                  <a:pt x="995624" y="439775"/>
                  <a:pt x="1026486" y="470637"/>
                  <a:pt x="1026486" y="508708"/>
                </a:cubicBezTo>
                <a:cubicBezTo>
                  <a:pt x="1026486" y="717665"/>
                  <a:pt x="1026485" y="926621"/>
                  <a:pt x="1026485" y="1135578"/>
                </a:cubicBezTo>
                <a:cubicBezTo>
                  <a:pt x="1026485" y="1173649"/>
                  <a:pt x="995623" y="1204511"/>
                  <a:pt x="957552" y="1204511"/>
                </a:cubicBezTo>
                <a:lnTo>
                  <a:pt x="957553" y="1204510"/>
                </a:lnTo>
                <a:cubicBezTo>
                  <a:pt x="919482" y="1204510"/>
                  <a:pt x="888620" y="1173648"/>
                  <a:pt x="888620" y="1135577"/>
                </a:cubicBezTo>
                <a:lnTo>
                  <a:pt x="888620" y="508708"/>
                </a:lnTo>
                <a:cubicBezTo>
                  <a:pt x="888620" y="470637"/>
                  <a:pt x="919482" y="439775"/>
                  <a:pt x="957553" y="439775"/>
                </a:cubicBezTo>
                <a:close/>
                <a:moveTo>
                  <a:pt x="957553" y="100443"/>
                </a:moveTo>
                <a:lnTo>
                  <a:pt x="87050" y="1601309"/>
                </a:lnTo>
                <a:lnTo>
                  <a:pt x="1828055" y="1601309"/>
                </a:lnTo>
                <a:close/>
                <a:moveTo>
                  <a:pt x="957553" y="0"/>
                </a:moveTo>
                <a:lnTo>
                  <a:pt x="1915105" y="1650953"/>
                </a:lnTo>
                <a:lnTo>
                  <a:pt x="0" y="1650953"/>
                </a:ln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BE" sz="1800" b="0" i="0" u="none" strike="noStrike" kern="1200" cap="none" spc="0" normalizeH="0" baseline="0">
              <a:ln>
                <a:noFill/>
              </a:ln>
              <a:solidFill>
                <a:prstClr val="white"/>
              </a:solidFill>
              <a:effectLst/>
              <a:uLnTx/>
              <a:uFillTx/>
              <a:latin typeface="Calibri" panose="020F0502020204030204"/>
              <a:ea typeface="+mn-ea"/>
              <a:cs typeface="+mn-cs"/>
            </a:endParaRPr>
          </a:p>
        </p:txBody>
      </p:sp>
      <p:sp>
        <p:nvSpPr>
          <p:cNvPr id="149" name="TextBox 148">
            <a:extLst>
              <a:ext uri="{FF2B5EF4-FFF2-40B4-BE49-F238E27FC236}">
                <a16:creationId xmlns:a16="http://schemas.microsoft.com/office/drawing/2014/main" id="{586A2C6A-98F0-4546-A582-077FE8F9B2BC}"/>
              </a:ext>
            </a:extLst>
          </p:cNvPr>
          <p:cNvSpPr txBox="1"/>
          <p:nvPr/>
        </p:nvSpPr>
        <p:spPr>
          <a:xfrm>
            <a:off x="3472160" y="5361049"/>
            <a:ext cx="2135521" cy="400110"/>
          </a:xfrm>
          <a:prstGeom prst="rect">
            <a:avLst/>
          </a:prstGeom>
          <a:noFill/>
          <a:ln>
            <a:noFill/>
          </a:ln>
        </p:spPr>
        <p:txBody>
          <a:bodyPr wrap="none" rtlCol="0">
            <a:spAutoFit/>
          </a:bodyPr>
          <a:lstStyle/>
          <a:p>
            <a:pPr algn="ctr" defTabSz="742950">
              <a:defRPr/>
            </a:pPr>
            <a:r>
              <a:rPr lang="en-IE" sz="2000" b="1" kern="0" dirty="0">
                <a:solidFill>
                  <a:srgbClr val="00254C"/>
                </a:solidFill>
              </a:rPr>
              <a:t>2</a:t>
            </a:r>
            <a:r>
              <a:rPr lang="en-BE" sz="2000" b="1" kern="0" dirty="0" smtClean="0">
                <a:solidFill>
                  <a:srgbClr val="00254C"/>
                </a:solidFill>
              </a:rPr>
              <a:t>. </a:t>
            </a:r>
            <a:r>
              <a:rPr lang="en-IE" sz="2000" b="1" kern="0" dirty="0" smtClean="0">
                <a:solidFill>
                  <a:srgbClr val="00254C"/>
                </a:solidFill>
              </a:rPr>
              <a:t>New methods</a:t>
            </a:r>
            <a:endParaRPr lang="en-BE" sz="2000" b="1" kern="0" dirty="0">
              <a:solidFill>
                <a:srgbClr val="00254C"/>
              </a:solidFill>
            </a:endParaRPr>
          </a:p>
        </p:txBody>
      </p:sp>
      <p:sp>
        <p:nvSpPr>
          <p:cNvPr id="150" name="TextBox 149">
            <a:extLst>
              <a:ext uri="{FF2B5EF4-FFF2-40B4-BE49-F238E27FC236}">
                <a16:creationId xmlns:a16="http://schemas.microsoft.com/office/drawing/2014/main" id="{19540246-EEC1-4560-B685-F7A3928F2692}"/>
              </a:ext>
            </a:extLst>
          </p:cNvPr>
          <p:cNvSpPr txBox="1"/>
          <p:nvPr/>
        </p:nvSpPr>
        <p:spPr>
          <a:xfrm>
            <a:off x="2997345" y="5734188"/>
            <a:ext cx="3305858" cy="369332"/>
          </a:xfrm>
          <a:prstGeom prst="rect">
            <a:avLst/>
          </a:prstGeom>
          <a:noFill/>
          <a:ln>
            <a:noFill/>
          </a:ln>
        </p:spPr>
        <p:txBody>
          <a:bodyPr wrap="square" rtlCol="0">
            <a:spAutoFit/>
          </a:bodyPr>
          <a:lstStyle/>
          <a:p>
            <a:pPr lvl="1"/>
            <a:r>
              <a:rPr lang="en-IE" dirty="0" smtClean="0"/>
              <a:t>New quality metrics</a:t>
            </a:r>
            <a:endParaRPr lang="en-IE" dirty="0"/>
          </a:p>
        </p:txBody>
      </p:sp>
      <p:sp>
        <p:nvSpPr>
          <p:cNvPr id="153" name="TextBox 152">
            <a:extLst>
              <a:ext uri="{FF2B5EF4-FFF2-40B4-BE49-F238E27FC236}">
                <a16:creationId xmlns:a16="http://schemas.microsoft.com/office/drawing/2014/main" id="{586A2C6A-98F0-4546-A582-077FE8F9B2BC}"/>
              </a:ext>
            </a:extLst>
          </p:cNvPr>
          <p:cNvSpPr txBox="1"/>
          <p:nvPr/>
        </p:nvSpPr>
        <p:spPr>
          <a:xfrm>
            <a:off x="4886360" y="1631982"/>
            <a:ext cx="3781140" cy="707886"/>
          </a:xfrm>
          <a:prstGeom prst="rect">
            <a:avLst/>
          </a:prstGeom>
          <a:noFill/>
          <a:ln>
            <a:noFill/>
          </a:ln>
        </p:spPr>
        <p:txBody>
          <a:bodyPr wrap="square" rtlCol="0">
            <a:spAutoFit/>
          </a:bodyPr>
          <a:lstStyle/>
          <a:p>
            <a:pPr algn="ctr" defTabSz="742950">
              <a:defRPr/>
            </a:pPr>
            <a:r>
              <a:rPr lang="en-IE" sz="2000" b="1" kern="0" dirty="0" smtClean="0">
                <a:solidFill>
                  <a:srgbClr val="00254C"/>
                </a:solidFill>
              </a:rPr>
              <a:t>3</a:t>
            </a:r>
            <a:r>
              <a:rPr lang="en-BE" sz="2000" b="1" kern="0" dirty="0" smtClean="0">
                <a:solidFill>
                  <a:srgbClr val="00254C"/>
                </a:solidFill>
              </a:rPr>
              <a:t>. </a:t>
            </a:r>
            <a:r>
              <a:rPr lang="en-IE" sz="2000" b="1" kern="0" dirty="0" smtClean="0">
                <a:solidFill>
                  <a:srgbClr val="00254C"/>
                </a:solidFill>
              </a:rPr>
              <a:t>Reproducibility and </a:t>
            </a:r>
          </a:p>
          <a:p>
            <a:pPr algn="ctr" defTabSz="742950">
              <a:defRPr/>
            </a:pPr>
            <a:r>
              <a:rPr lang="en-IE" sz="2000" b="1" kern="0" dirty="0" smtClean="0">
                <a:solidFill>
                  <a:srgbClr val="00254C"/>
                </a:solidFill>
              </a:rPr>
              <a:t>Transparency (OSS)</a:t>
            </a:r>
            <a:endParaRPr lang="en-BE" sz="2000" b="1" kern="0" dirty="0">
              <a:solidFill>
                <a:srgbClr val="00254C"/>
              </a:solidFill>
            </a:endParaRPr>
          </a:p>
        </p:txBody>
      </p:sp>
      <p:sp>
        <p:nvSpPr>
          <p:cNvPr id="154" name="TextBox 153">
            <a:extLst>
              <a:ext uri="{FF2B5EF4-FFF2-40B4-BE49-F238E27FC236}">
                <a16:creationId xmlns:a16="http://schemas.microsoft.com/office/drawing/2014/main" id="{19540246-EEC1-4560-B685-F7A3928F2692}"/>
              </a:ext>
            </a:extLst>
          </p:cNvPr>
          <p:cNvSpPr txBox="1"/>
          <p:nvPr/>
        </p:nvSpPr>
        <p:spPr>
          <a:xfrm>
            <a:off x="4448155" y="2258574"/>
            <a:ext cx="4624424" cy="369332"/>
          </a:xfrm>
          <a:prstGeom prst="rect">
            <a:avLst/>
          </a:prstGeom>
          <a:noFill/>
          <a:ln>
            <a:noFill/>
          </a:ln>
        </p:spPr>
        <p:txBody>
          <a:bodyPr wrap="square" rtlCol="0">
            <a:spAutoFit/>
          </a:bodyPr>
          <a:lstStyle/>
          <a:p>
            <a:pPr lvl="1"/>
            <a:r>
              <a:rPr lang="en-IE" dirty="0" smtClean="0"/>
              <a:t>Ability to reproduce and explain results</a:t>
            </a:r>
            <a:endParaRPr lang="en-IE" dirty="0"/>
          </a:p>
        </p:txBody>
      </p:sp>
      <p:sp>
        <p:nvSpPr>
          <p:cNvPr id="156" name="TextBox 155">
            <a:extLst>
              <a:ext uri="{FF2B5EF4-FFF2-40B4-BE49-F238E27FC236}">
                <a16:creationId xmlns:a16="http://schemas.microsoft.com/office/drawing/2014/main" id="{586A2C6A-98F0-4546-A582-077FE8F9B2BC}"/>
              </a:ext>
            </a:extLst>
          </p:cNvPr>
          <p:cNvSpPr txBox="1"/>
          <p:nvPr/>
        </p:nvSpPr>
        <p:spPr>
          <a:xfrm>
            <a:off x="6564976" y="5361109"/>
            <a:ext cx="2048958" cy="400110"/>
          </a:xfrm>
          <a:prstGeom prst="rect">
            <a:avLst/>
          </a:prstGeom>
          <a:noFill/>
          <a:ln>
            <a:noFill/>
          </a:ln>
        </p:spPr>
        <p:txBody>
          <a:bodyPr wrap="none" rtlCol="0">
            <a:spAutoFit/>
          </a:bodyPr>
          <a:lstStyle/>
          <a:p>
            <a:pPr algn="ctr" defTabSz="742950">
              <a:defRPr/>
            </a:pPr>
            <a:r>
              <a:rPr lang="en-IE" sz="2000" b="1" kern="0" dirty="0" smtClean="0">
                <a:solidFill>
                  <a:srgbClr val="00254C"/>
                </a:solidFill>
              </a:rPr>
              <a:t>4</a:t>
            </a:r>
            <a:r>
              <a:rPr lang="en-BE" sz="2000" b="1" kern="0" dirty="0" smtClean="0">
                <a:solidFill>
                  <a:srgbClr val="00254C"/>
                </a:solidFill>
              </a:rPr>
              <a:t>. </a:t>
            </a:r>
            <a:r>
              <a:rPr lang="en-IE" sz="2000" b="1" kern="0" dirty="0" smtClean="0">
                <a:solidFill>
                  <a:srgbClr val="00254C"/>
                </a:solidFill>
              </a:rPr>
              <a:t>Ground truth</a:t>
            </a:r>
            <a:endParaRPr lang="en-BE" sz="2000" b="1" kern="0" dirty="0">
              <a:solidFill>
                <a:srgbClr val="00254C"/>
              </a:solidFill>
            </a:endParaRPr>
          </a:p>
        </p:txBody>
      </p:sp>
      <p:sp>
        <p:nvSpPr>
          <p:cNvPr id="157" name="TextBox 156">
            <a:extLst>
              <a:ext uri="{FF2B5EF4-FFF2-40B4-BE49-F238E27FC236}">
                <a16:creationId xmlns:a16="http://schemas.microsoft.com/office/drawing/2014/main" id="{19540246-EEC1-4560-B685-F7A3928F2692}"/>
              </a:ext>
            </a:extLst>
          </p:cNvPr>
          <p:cNvSpPr txBox="1"/>
          <p:nvPr/>
        </p:nvSpPr>
        <p:spPr>
          <a:xfrm>
            <a:off x="5909524" y="5780354"/>
            <a:ext cx="4013722" cy="646331"/>
          </a:xfrm>
          <a:prstGeom prst="rect">
            <a:avLst/>
          </a:prstGeom>
          <a:noFill/>
          <a:ln>
            <a:noFill/>
          </a:ln>
        </p:spPr>
        <p:txBody>
          <a:bodyPr wrap="square" rtlCol="0">
            <a:spAutoFit/>
          </a:bodyPr>
          <a:lstStyle/>
          <a:p>
            <a:pPr lvl="1"/>
            <a:r>
              <a:rPr lang="en-IE" dirty="0" smtClean="0"/>
              <a:t>Annotated data to train and benchmark ML algorithms</a:t>
            </a:r>
            <a:endParaRPr lang="en-IE" dirty="0"/>
          </a:p>
        </p:txBody>
      </p:sp>
      <p:pic>
        <p:nvPicPr>
          <p:cNvPr id="3" name="Picture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866225" y="463880"/>
            <a:ext cx="1620097" cy="1123812"/>
          </a:xfrm>
          <a:prstGeom prst="rect">
            <a:avLst/>
          </a:prstGeom>
        </p:spPr>
      </p:pic>
      <p:pic>
        <p:nvPicPr>
          <p:cNvPr id="4" name="Picture 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flipH="1">
            <a:off x="6935660" y="3786849"/>
            <a:ext cx="886724" cy="648463"/>
          </a:xfrm>
          <a:prstGeom prst="rect">
            <a:avLst/>
          </a:prstGeom>
          <a:effectLst>
            <a:softEdge rad="76200"/>
          </a:effectLst>
        </p:spPr>
      </p:pic>
      <p:pic>
        <p:nvPicPr>
          <p:cNvPr id="5" name="Picture 4"/>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4411107" y="3793219"/>
            <a:ext cx="854747" cy="632513"/>
          </a:xfrm>
          <a:prstGeom prst="rect">
            <a:avLst/>
          </a:prstGeom>
        </p:spPr>
      </p:pic>
      <p:pic>
        <p:nvPicPr>
          <p:cNvPr id="6" name="Picture 5"/>
          <p:cNvPicPr>
            <a:picLocks noChangeAspect="1"/>
          </p:cNvPicPr>
          <p:nvPr/>
        </p:nvPicPr>
        <p:blipFill>
          <a:blip r:embed="rId15"/>
          <a:stretch>
            <a:fillRect/>
          </a:stretch>
        </p:blipFill>
        <p:spPr>
          <a:xfrm>
            <a:off x="3129479" y="3860898"/>
            <a:ext cx="930666" cy="536703"/>
          </a:xfrm>
          <a:prstGeom prst="rect">
            <a:avLst/>
          </a:prstGeom>
          <a:effectLst>
            <a:softEdge rad="76200"/>
          </a:effectLst>
        </p:spPr>
      </p:pic>
    </p:spTree>
    <p:extLst>
      <p:ext uri="{BB962C8B-B14F-4D97-AF65-F5344CB8AC3E}">
        <p14:creationId xmlns:p14="http://schemas.microsoft.com/office/powerpoint/2010/main" val="4852403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IE" dirty="0" smtClean="0"/>
              <a:t>New technologies – new infrastructure</a:t>
            </a:r>
            <a:endParaRPr lang="en-IE" dirty="0"/>
          </a:p>
        </p:txBody>
      </p:sp>
      <p:grpSp>
        <p:nvGrpSpPr>
          <p:cNvPr id="12" name="Group 11"/>
          <p:cNvGrpSpPr/>
          <p:nvPr/>
        </p:nvGrpSpPr>
        <p:grpSpPr>
          <a:xfrm>
            <a:off x="5072331" y="2089152"/>
            <a:ext cx="1584169" cy="2170112"/>
            <a:chOff x="4913313" y="2336800"/>
            <a:chExt cx="2322512" cy="3071813"/>
          </a:xfrm>
        </p:grpSpPr>
        <p:sp>
          <p:nvSpPr>
            <p:cNvPr id="7" name="Rectangle 6"/>
            <p:cNvSpPr/>
            <p:nvPr/>
          </p:nvSpPr>
          <p:spPr>
            <a:xfrm>
              <a:off x="4943475" y="4148138"/>
              <a:ext cx="1981200" cy="1260475"/>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r>
                <a:rPr lang="en-IE" dirty="0" smtClean="0">
                  <a:solidFill>
                    <a:srgbClr val="FFFFFF"/>
                  </a:solidFill>
                </a:rPr>
                <a:t>Privately Held Data</a:t>
              </a:r>
              <a:endParaRPr lang="en-GB" sz="1800" dirty="0">
                <a:solidFill>
                  <a:srgbClr val="FFFFFF"/>
                </a:solidFill>
              </a:endParaRPr>
            </a:p>
          </p:txBody>
        </p:sp>
        <p:pic>
          <p:nvPicPr>
            <p:cNvPr id="195591" name="Picture 8"/>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913313" y="3233738"/>
              <a:ext cx="714375" cy="5953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592" name="Picture 9"/>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64313" y="3155950"/>
              <a:ext cx="671512" cy="673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593" name="Picture 10"/>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622925" y="3082925"/>
              <a:ext cx="892175"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594" name="Picture 11"/>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227638" y="2336800"/>
              <a:ext cx="771525" cy="773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595" name="Picture 12"/>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245225" y="2455863"/>
              <a:ext cx="614363"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p:cNvGrpSpPr/>
          <p:nvPr/>
        </p:nvGrpSpPr>
        <p:grpSpPr>
          <a:xfrm>
            <a:off x="8067175" y="2741881"/>
            <a:ext cx="1826168" cy="2784984"/>
            <a:chOff x="8094663" y="2125663"/>
            <a:chExt cx="2133600" cy="3265487"/>
          </a:xfrm>
        </p:grpSpPr>
        <p:sp>
          <p:nvSpPr>
            <p:cNvPr id="8" name="Rectangle 7"/>
            <p:cNvSpPr/>
            <p:nvPr/>
          </p:nvSpPr>
          <p:spPr>
            <a:xfrm>
              <a:off x="8172450" y="4132263"/>
              <a:ext cx="1979613" cy="1258887"/>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r>
                <a:rPr lang="en-IE" sz="1800" dirty="0" smtClean="0">
                  <a:solidFill>
                    <a:srgbClr val="FFFFFF"/>
                  </a:solidFill>
                </a:rPr>
                <a:t>NSI Cloud</a:t>
              </a:r>
              <a:endParaRPr lang="en-IE" sz="1800" dirty="0">
                <a:solidFill>
                  <a:srgbClr val="FFFFFF"/>
                </a:solidFill>
              </a:endParaRPr>
            </a:p>
            <a:p>
              <a:pPr algn="ctr" defTabSz="457200" fontAlgn="auto">
                <a:spcBef>
                  <a:spcPts val="0"/>
                </a:spcBef>
                <a:spcAft>
                  <a:spcPts val="0"/>
                </a:spcAft>
                <a:defRPr/>
              </a:pPr>
              <a:r>
                <a:rPr lang="en-IE" sz="1800" dirty="0" smtClean="0">
                  <a:solidFill>
                    <a:srgbClr val="FFFFFF"/>
                  </a:solidFill>
                </a:rPr>
                <a:t>Infrastructure</a:t>
              </a:r>
              <a:endParaRPr lang="en-IE" sz="1800" dirty="0">
                <a:solidFill>
                  <a:srgbClr val="FFFFFF"/>
                </a:solidFill>
              </a:endParaRPr>
            </a:p>
          </p:txBody>
        </p:sp>
        <p:pic>
          <p:nvPicPr>
            <p:cNvPr id="195597" name="Picture 14"/>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8094663" y="2125663"/>
              <a:ext cx="2133600" cy="2133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1" name="Group 10"/>
          <p:cNvGrpSpPr/>
          <p:nvPr/>
        </p:nvGrpSpPr>
        <p:grpSpPr>
          <a:xfrm>
            <a:off x="1829562" y="3668174"/>
            <a:ext cx="1637834" cy="1944688"/>
            <a:chOff x="1706563" y="2351088"/>
            <a:chExt cx="2001837" cy="3052762"/>
          </a:xfrm>
        </p:grpSpPr>
        <p:sp>
          <p:nvSpPr>
            <p:cNvPr id="6" name="Rectangle 5"/>
            <p:cNvSpPr/>
            <p:nvPr/>
          </p:nvSpPr>
          <p:spPr>
            <a:xfrm>
              <a:off x="1706563" y="4143375"/>
              <a:ext cx="1979612" cy="1260475"/>
            </a:xfrm>
            <a:prstGeom prst="rect">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r>
                <a:rPr lang="en-IE" sz="1800" dirty="0" smtClean="0">
                  <a:solidFill>
                    <a:srgbClr val="FFFFFF"/>
                  </a:solidFill>
                </a:rPr>
                <a:t>Smart </a:t>
              </a:r>
              <a:r>
                <a:rPr lang="en-IE" sz="1800" dirty="0">
                  <a:solidFill>
                    <a:srgbClr val="FFFFFF"/>
                  </a:solidFill>
                </a:rPr>
                <a:t>Device</a:t>
              </a:r>
              <a:endParaRPr lang="en-GB" sz="1800" dirty="0">
                <a:solidFill>
                  <a:srgbClr val="FFFFFF"/>
                </a:solidFill>
              </a:endParaRPr>
            </a:p>
          </p:txBody>
        </p:sp>
        <p:pic>
          <p:nvPicPr>
            <p:cNvPr id="195596" name="Picture 13"/>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63725" y="2351088"/>
              <a:ext cx="731838" cy="731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598" name="Picture 15"/>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774825" y="3109913"/>
              <a:ext cx="900113" cy="898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599" name="Picture 16"/>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900363" y="2362200"/>
              <a:ext cx="611187" cy="612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5600" name="Picture 17"/>
            <p:cNvPicPr>
              <a:picLocks noChangeAspect="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892425" y="3111500"/>
              <a:ext cx="815975" cy="835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9" name="Up-Down Arrow 18"/>
          <p:cNvSpPr/>
          <p:nvPr/>
        </p:nvSpPr>
        <p:spPr>
          <a:xfrm rot="3090819">
            <a:off x="3926807" y="3732793"/>
            <a:ext cx="473075" cy="785813"/>
          </a:xfrm>
          <a:prstGeom prst="upDownArrow">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sz="1800">
              <a:solidFill>
                <a:srgbClr val="FFFFFF"/>
              </a:solidFill>
            </a:endParaRPr>
          </a:p>
        </p:txBody>
      </p:sp>
      <p:sp>
        <p:nvSpPr>
          <p:cNvPr id="20" name="Up-Down Arrow 19"/>
          <p:cNvSpPr/>
          <p:nvPr/>
        </p:nvSpPr>
        <p:spPr>
          <a:xfrm rot="7727519">
            <a:off x="7033721" y="3628880"/>
            <a:ext cx="471488" cy="785812"/>
          </a:xfrm>
          <a:prstGeom prst="upDownArrow">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sz="1800">
              <a:solidFill>
                <a:srgbClr val="FFFFFF"/>
              </a:solidFill>
            </a:endParaRPr>
          </a:p>
        </p:txBody>
      </p:sp>
      <p:sp>
        <p:nvSpPr>
          <p:cNvPr id="195605" name="TextBox 2"/>
          <p:cNvSpPr txBox="1">
            <a:spLocks noChangeArrowheads="1"/>
          </p:cNvSpPr>
          <p:nvPr/>
        </p:nvSpPr>
        <p:spPr bwMode="auto">
          <a:xfrm>
            <a:off x="2711068" y="1579264"/>
            <a:ext cx="6907660" cy="7078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1"/>
              </a:buClr>
              <a:buChar char="•"/>
              <a:defRPr sz="2400" i="1">
                <a:solidFill>
                  <a:srgbClr val="0F5494"/>
                </a:solidFill>
                <a:latin typeface="Arial" panose="020B0604020202020204" pitchFamily="34" charset="0"/>
              </a:defRPr>
            </a:lvl1pPr>
            <a:lvl2pPr marL="742950" indent="-285750">
              <a:spcBef>
                <a:spcPct val="20000"/>
              </a:spcBef>
              <a:buClr>
                <a:srgbClr val="009FBA"/>
              </a:buClr>
              <a:buChar char="•"/>
              <a:defRPr sz="2000" b="1">
                <a:solidFill>
                  <a:srgbClr val="0F5494"/>
                </a:solidFill>
                <a:latin typeface="Arial" panose="020B0604020202020204" pitchFamily="34" charset="0"/>
              </a:defRPr>
            </a:lvl2pPr>
            <a:lvl3pPr marL="1143000" indent="-228600">
              <a:spcBef>
                <a:spcPct val="20000"/>
              </a:spcBef>
              <a:defRPr sz="1400">
                <a:solidFill>
                  <a:srgbClr val="0F5494"/>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pPr algn="ctr">
              <a:spcBef>
                <a:spcPct val="0"/>
              </a:spcBef>
              <a:buClrTx/>
              <a:buNone/>
            </a:pPr>
            <a:r>
              <a:rPr lang="en-GB" sz="2000" dirty="0" smtClean="0"/>
              <a:t>New  </a:t>
            </a:r>
            <a:r>
              <a:rPr lang="en-GB" sz="2000" b="1" dirty="0"/>
              <a:t>methods/algorithms</a:t>
            </a:r>
            <a:r>
              <a:rPr lang="en-GB" sz="2000" dirty="0"/>
              <a:t> applied directly on the raw data</a:t>
            </a:r>
          </a:p>
          <a:p>
            <a:pPr algn="ctr">
              <a:spcBef>
                <a:spcPct val="0"/>
              </a:spcBef>
              <a:buClrTx/>
              <a:buFontTx/>
              <a:buNone/>
            </a:pPr>
            <a:r>
              <a:rPr lang="de-DE" altLang="en-US" sz="2000" i="0" dirty="0" smtClean="0">
                <a:solidFill>
                  <a:srgbClr val="002060"/>
                </a:solidFill>
                <a:latin typeface="Verdana" panose="020B0604030504040204" pitchFamily="34" charset="0"/>
                <a:cs typeface="Arial" panose="020B0604020202020204" pitchFamily="34" charset="0"/>
              </a:rPr>
              <a:t> </a:t>
            </a:r>
            <a:endParaRPr lang="en-GB" altLang="en-US" sz="2000" i="0" dirty="0">
              <a:solidFill>
                <a:srgbClr val="002060"/>
              </a:solidFill>
              <a:latin typeface="Verdana" panose="020B0604030504040204" pitchFamily="34" charset="0"/>
              <a:cs typeface="Arial" panose="020B0604020202020204" pitchFamily="34" charset="0"/>
            </a:endParaRPr>
          </a:p>
        </p:txBody>
      </p:sp>
      <p:sp>
        <p:nvSpPr>
          <p:cNvPr id="195606" name="TextBox 21"/>
          <p:cNvSpPr txBox="1">
            <a:spLocks noChangeArrowheads="1"/>
          </p:cNvSpPr>
          <p:nvPr/>
        </p:nvSpPr>
        <p:spPr bwMode="auto">
          <a:xfrm>
            <a:off x="1738246" y="5967300"/>
            <a:ext cx="8536311"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lr>
                <a:schemeClr val="bg1"/>
              </a:buClr>
              <a:buChar char="•"/>
              <a:defRPr sz="2400" i="1">
                <a:solidFill>
                  <a:srgbClr val="0F5494"/>
                </a:solidFill>
                <a:latin typeface="Arial" panose="020B0604020202020204" pitchFamily="34" charset="0"/>
              </a:defRPr>
            </a:lvl1pPr>
            <a:lvl2pPr marL="742950" indent="-285750">
              <a:spcBef>
                <a:spcPct val="20000"/>
              </a:spcBef>
              <a:buClr>
                <a:srgbClr val="009FBA"/>
              </a:buClr>
              <a:buChar char="•"/>
              <a:defRPr sz="2000" b="1">
                <a:solidFill>
                  <a:srgbClr val="0F5494"/>
                </a:solidFill>
                <a:latin typeface="Arial" panose="020B0604020202020204" pitchFamily="34" charset="0"/>
              </a:defRPr>
            </a:lvl2pPr>
            <a:lvl3pPr marL="1143000" indent="-228600">
              <a:spcBef>
                <a:spcPct val="20000"/>
              </a:spcBef>
              <a:defRPr sz="1400">
                <a:solidFill>
                  <a:srgbClr val="0F5494"/>
                </a:solidFill>
                <a:latin typeface="Arial" panose="020B0604020202020204" pitchFamily="34" charset="0"/>
              </a:defRPr>
            </a:lvl3pPr>
            <a:lvl4pPr marL="1600200" indent="-228600">
              <a:spcBef>
                <a:spcPct val="20000"/>
              </a:spcBef>
              <a:buChar char="–"/>
              <a:defRPr sz="2000">
                <a:solidFill>
                  <a:schemeClr val="tx1"/>
                </a:solidFill>
                <a:latin typeface="Arial" panose="020B0604020202020204" pitchFamily="34" charset="0"/>
              </a:defRPr>
            </a:lvl4pPr>
            <a:lvl5pPr marL="2057400" indent="-228600">
              <a:spcBef>
                <a:spcPct val="20000"/>
              </a:spcBef>
              <a:buChar char="»"/>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defRPr>
            </a:lvl9pPr>
          </a:lstStyle>
          <a:p>
            <a:r>
              <a:rPr lang="en-GB" sz="2000" b="1" dirty="0" smtClean="0"/>
              <a:t>Privacy </a:t>
            </a:r>
            <a:r>
              <a:rPr lang="en-GB" sz="2000" b="1" dirty="0"/>
              <a:t>preservation </a:t>
            </a:r>
            <a:r>
              <a:rPr lang="en-GB" sz="2000" dirty="0"/>
              <a:t>protocols, </a:t>
            </a:r>
            <a:r>
              <a:rPr lang="en-GB" sz="2000" b="1" dirty="0" err="1" smtClean="0"/>
              <a:t>composable</a:t>
            </a:r>
            <a:r>
              <a:rPr lang="en-GB" sz="2000" dirty="0" smtClean="0"/>
              <a:t> and distributed processes</a:t>
            </a:r>
            <a:endParaRPr lang="en-GB" sz="2000" dirty="0"/>
          </a:p>
        </p:txBody>
      </p:sp>
      <p:sp>
        <p:nvSpPr>
          <p:cNvPr id="31" name="Up-Down Arrow 30"/>
          <p:cNvSpPr/>
          <p:nvPr/>
        </p:nvSpPr>
        <p:spPr>
          <a:xfrm rot="5400000">
            <a:off x="5443099" y="4779875"/>
            <a:ext cx="473075" cy="785813"/>
          </a:xfrm>
          <a:prstGeom prst="upDownArrow">
            <a:avLst/>
          </a:prstGeom>
          <a:solidFill>
            <a:srgbClr val="133176"/>
          </a:solidFill>
          <a:ln>
            <a:solidFill>
              <a:srgbClr val="133176"/>
            </a:solidFill>
          </a:ln>
        </p:spPr>
        <p:style>
          <a:lnRef idx="1">
            <a:schemeClr val="accent1"/>
          </a:lnRef>
          <a:fillRef idx="3">
            <a:schemeClr val="accent1"/>
          </a:fillRef>
          <a:effectRef idx="2">
            <a:schemeClr val="accent1"/>
          </a:effectRef>
          <a:fontRef idx="minor">
            <a:schemeClr val="lt1"/>
          </a:fontRef>
        </p:style>
        <p:txBody>
          <a:bodyPr anchor="ctr"/>
          <a:lstStyle/>
          <a:p>
            <a:pPr algn="ctr" defTabSz="457200" fontAlgn="auto">
              <a:spcBef>
                <a:spcPts val="0"/>
              </a:spcBef>
              <a:spcAft>
                <a:spcPts val="0"/>
              </a:spcAft>
              <a:defRPr/>
            </a:pPr>
            <a:endParaRPr lang="en-GB" sz="1800">
              <a:solidFill>
                <a:srgbClr val="FFFFFF"/>
              </a:solidFill>
            </a:endParaRPr>
          </a:p>
        </p:txBody>
      </p:sp>
    </p:spTree>
    <p:extLst>
      <p:ext uri="{BB962C8B-B14F-4D97-AF65-F5344CB8AC3E}">
        <p14:creationId xmlns:p14="http://schemas.microsoft.com/office/powerpoint/2010/main" val="159014999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7" name="Group 36">
            <a:extLst>
              <a:ext uri="{FF2B5EF4-FFF2-40B4-BE49-F238E27FC236}">
                <a16:creationId xmlns:a16="http://schemas.microsoft.com/office/drawing/2014/main" id="{125D6606-B948-480E-8073-0D84A45C63E7}"/>
              </a:ext>
            </a:extLst>
          </p:cNvPr>
          <p:cNvGrpSpPr/>
          <p:nvPr/>
        </p:nvGrpSpPr>
        <p:grpSpPr>
          <a:xfrm>
            <a:off x="1712423" y="1265217"/>
            <a:ext cx="7864713" cy="5183764"/>
            <a:chOff x="3186134" y="1888744"/>
            <a:chExt cx="5529799" cy="3630851"/>
          </a:xfrm>
        </p:grpSpPr>
        <p:sp>
          <p:nvSpPr>
            <p:cNvPr id="4" name="Trapezoid 3">
              <a:extLst>
                <a:ext uri="{FF2B5EF4-FFF2-40B4-BE49-F238E27FC236}">
                  <a16:creationId xmlns:a16="http://schemas.microsoft.com/office/drawing/2014/main" id="{493BAC93-BCCB-445D-BC2F-C102771577AD}"/>
                </a:ext>
              </a:extLst>
            </p:cNvPr>
            <p:cNvSpPr/>
            <p:nvPr/>
          </p:nvSpPr>
          <p:spPr>
            <a:xfrm>
              <a:off x="3508976" y="4011627"/>
              <a:ext cx="5201859" cy="1284224"/>
            </a:xfrm>
            <a:prstGeom prst="trapezoid">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grpSp>
          <p:nvGrpSpPr>
            <p:cNvPr id="5" name="Group 4">
              <a:extLst>
                <a:ext uri="{FF2B5EF4-FFF2-40B4-BE49-F238E27FC236}">
                  <a16:creationId xmlns:a16="http://schemas.microsoft.com/office/drawing/2014/main" id="{C65BCD15-454C-4D02-8192-2DD22F86558E}"/>
                </a:ext>
              </a:extLst>
            </p:cNvPr>
            <p:cNvGrpSpPr/>
            <p:nvPr/>
          </p:nvGrpSpPr>
          <p:grpSpPr>
            <a:xfrm>
              <a:off x="3186134" y="1888744"/>
              <a:ext cx="5524704" cy="3323725"/>
              <a:chOff x="2962275" y="2316054"/>
              <a:chExt cx="5524704" cy="3650488"/>
            </a:xfrm>
          </p:grpSpPr>
          <p:grpSp>
            <p:nvGrpSpPr>
              <p:cNvPr id="6" name="Group 5">
                <a:extLst>
                  <a:ext uri="{FF2B5EF4-FFF2-40B4-BE49-F238E27FC236}">
                    <a16:creationId xmlns:a16="http://schemas.microsoft.com/office/drawing/2014/main" id="{A2B8216E-65D2-4DB5-8895-B6E78EF13301}"/>
                  </a:ext>
                </a:extLst>
              </p:cNvPr>
              <p:cNvGrpSpPr/>
              <p:nvPr/>
            </p:nvGrpSpPr>
            <p:grpSpPr>
              <a:xfrm>
                <a:off x="2962275" y="2353861"/>
                <a:ext cx="5485495" cy="3612681"/>
                <a:chOff x="30744" y="1838564"/>
                <a:chExt cx="6571731" cy="3934603"/>
              </a:xfrm>
            </p:grpSpPr>
            <p:sp>
              <p:nvSpPr>
                <p:cNvPr id="25" name="Freeform 6">
                  <a:extLst>
                    <a:ext uri="{FF2B5EF4-FFF2-40B4-BE49-F238E27FC236}">
                      <a16:creationId xmlns:a16="http://schemas.microsoft.com/office/drawing/2014/main" id="{91F9B0A8-E8A2-44E9-9610-B419C3C7E55D}"/>
                    </a:ext>
                  </a:extLst>
                </p:cNvPr>
                <p:cNvSpPr>
                  <a:spLocks noEditPoints="1"/>
                </p:cNvSpPr>
                <p:nvPr/>
              </p:nvSpPr>
              <p:spPr bwMode="gray">
                <a:xfrm flipV="1">
                  <a:off x="417518" y="1838564"/>
                  <a:ext cx="6184957" cy="3934603"/>
                </a:xfrm>
                <a:custGeom>
                  <a:avLst/>
                  <a:gdLst/>
                  <a:ahLst/>
                  <a:cxnLst>
                    <a:cxn ang="0">
                      <a:pos x="293" y="0"/>
                    </a:cxn>
                    <a:cxn ang="0">
                      <a:pos x="0" y="293"/>
                    </a:cxn>
                    <a:cxn ang="0">
                      <a:pos x="293" y="585"/>
                    </a:cxn>
                    <a:cxn ang="0">
                      <a:pos x="586" y="293"/>
                    </a:cxn>
                    <a:cxn ang="0">
                      <a:pos x="293" y="0"/>
                    </a:cxn>
                    <a:cxn ang="0">
                      <a:pos x="293" y="539"/>
                    </a:cxn>
                    <a:cxn ang="0">
                      <a:pos x="46" y="293"/>
                    </a:cxn>
                    <a:cxn ang="0">
                      <a:pos x="293" y="46"/>
                    </a:cxn>
                    <a:cxn ang="0">
                      <a:pos x="540" y="293"/>
                    </a:cxn>
                    <a:cxn ang="0">
                      <a:pos x="293" y="539"/>
                    </a:cxn>
                  </a:cxnLst>
                  <a:rect l="0" t="0" r="r" b="b"/>
                  <a:pathLst>
                    <a:path w="586" h="585">
                      <a:moveTo>
                        <a:pt x="293" y="0"/>
                      </a:moveTo>
                      <a:cubicBezTo>
                        <a:pt x="131" y="0"/>
                        <a:pt x="0" y="131"/>
                        <a:pt x="0" y="293"/>
                      </a:cubicBezTo>
                      <a:cubicBezTo>
                        <a:pt x="0" y="454"/>
                        <a:pt x="131" y="585"/>
                        <a:pt x="293" y="585"/>
                      </a:cubicBezTo>
                      <a:cubicBezTo>
                        <a:pt x="455" y="585"/>
                        <a:pt x="586" y="454"/>
                        <a:pt x="586" y="293"/>
                      </a:cubicBezTo>
                      <a:cubicBezTo>
                        <a:pt x="586" y="131"/>
                        <a:pt x="455" y="0"/>
                        <a:pt x="293" y="0"/>
                      </a:cubicBezTo>
                      <a:close/>
                      <a:moveTo>
                        <a:pt x="293" y="539"/>
                      </a:moveTo>
                      <a:cubicBezTo>
                        <a:pt x="157" y="539"/>
                        <a:pt x="46" y="429"/>
                        <a:pt x="46" y="293"/>
                      </a:cubicBezTo>
                      <a:cubicBezTo>
                        <a:pt x="46" y="156"/>
                        <a:pt x="157" y="46"/>
                        <a:pt x="293" y="46"/>
                      </a:cubicBezTo>
                      <a:cubicBezTo>
                        <a:pt x="429" y="46"/>
                        <a:pt x="540" y="156"/>
                        <a:pt x="540" y="293"/>
                      </a:cubicBezTo>
                      <a:cubicBezTo>
                        <a:pt x="540" y="429"/>
                        <a:pt x="429" y="539"/>
                        <a:pt x="293" y="539"/>
                      </a:cubicBezTo>
                      <a:close/>
                    </a:path>
                  </a:pathLst>
                </a:custGeom>
                <a:solidFill>
                  <a:srgbClr val="F4F4F4"/>
                </a:solidFill>
                <a:ln w="19050" cap="flat" cmpd="sng">
                  <a:solidFill>
                    <a:srgbClr val="FFFFFF"/>
                  </a:solidFill>
                  <a:prstDash val="solid"/>
                  <a:round/>
                  <a:headEnd type="none" w="med" len="med"/>
                  <a:tailEnd type="none" w="med" len="med"/>
                </a:ln>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90000"/>
                    </a:lnSpc>
                    <a:spcBef>
                      <a:spcPct val="0"/>
                    </a:spcBef>
                    <a:spcAft>
                      <a:spcPct val="0"/>
                    </a:spcAft>
                    <a:buClrTx/>
                    <a:buSzTx/>
                    <a:buFontTx/>
                    <a:buNone/>
                    <a:tabLst/>
                    <a:defRPr/>
                  </a:pPr>
                  <a:endParaRPr kumimoji="0" lang="en-US" sz="1050" b="0" i="0" u="none" strike="noStrike" kern="0" cap="none" spc="0" normalizeH="0" baseline="0" noProof="0">
                    <a:ln>
                      <a:noFill/>
                    </a:ln>
                    <a:solidFill>
                      <a:srgbClr val="000000"/>
                    </a:solidFill>
                    <a:effectLst/>
                    <a:uLnTx/>
                    <a:uFillTx/>
                    <a:latin typeface="Arial Black" panose="020B0A04020102020204" pitchFamily="34" charset="0"/>
                    <a:ea typeface="+mn-ea"/>
                    <a:cs typeface="+mn-cs"/>
                  </a:endParaRPr>
                </a:p>
              </p:txBody>
            </p:sp>
            <p:sp>
              <p:nvSpPr>
                <p:cNvPr id="26" name="Rectangle 25">
                  <a:extLst>
                    <a:ext uri="{FF2B5EF4-FFF2-40B4-BE49-F238E27FC236}">
                      <a16:creationId xmlns:a16="http://schemas.microsoft.com/office/drawing/2014/main" id="{C726B726-8FD9-44FB-B9EA-0A03731675D0}"/>
                    </a:ext>
                  </a:extLst>
                </p:cNvPr>
                <p:cNvSpPr/>
                <p:nvPr/>
              </p:nvSpPr>
              <p:spPr>
                <a:xfrm rot="20435053">
                  <a:off x="30744" y="2202512"/>
                  <a:ext cx="5009958" cy="2532087"/>
                </a:xfrm>
                <a:prstGeom prst="rect">
                  <a:avLst/>
                </a:prstGeom>
                <a:noFill/>
              </p:spPr>
              <p:txBody>
                <a:bodyPr spcFirstLastPara="1" wrap="none" lIns="91440" tIns="45720" rIns="91440" bIns="45720" numCol="1">
                  <a:prstTxWarp prst="textArchUp">
                    <a:avLst>
                      <a:gd name="adj" fmla="val 9745439"/>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100" b="1" i="0" u="none" strike="noStrike" kern="1200" cap="none" spc="0" normalizeH="0" baseline="0" noProof="0" dirty="0">
                      <a:ln>
                        <a:noFill/>
                      </a:ln>
                      <a:solidFill>
                        <a:srgbClr val="FFFFFF">
                          <a:lumMod val="65000"/>
                        </a:srgbClr>
                      </a:solidFill>
                      <a:effectLst/>
                      <a:uLnTx/>
                      <a:uFillTx/>
                      <a:latin typeface="Arial Black" panose="020B0A04020102020204" pitchFamily="34" charset="0"/>
                      <a:ea typeface="+mn-ea"/>
                      <a:cs typeface="+mn-cs"/>
                    </a:rPr>
                    <a:t>CULTURE</a:t>
                  </a:r>
                </a:p>
              </p:txBody>
            </p:sp>
            <p:sp>
              <p:nvSpPr>
                <p:cNvPr id="27" name="Rectangle 26">
                  <a:extLst>
                    <a:ext uri="{FF2B5EF4-FFF2-40B4-BE49-F238E27FC236}">
                      <a16:creationId xmlns:a16="http://schemas.microsoft.com/office/drawing/2014/main" id="{8EA3828E-D635-4087-8C8B-CB9ED1C82945}"/>
                    </a:ext>
                  </a:extLst>
                </p:cNvPr>
                <p:cNvSpPr/>
                <p:nvPr/>
              </p:nvSpPr>
              <p:spPr>
                <a:xfrm rot="20221331">
                  <a:off x="2666010" y="2766589"/>
                  <a:ext cx="3570260" cy="2745593"/>
                </a:xfrm>
                <a:prstGeom prst="rect">
                  <a:avLst/>
                </a:prstGeom>
                <a:noFill/>
              </p:spPr>
              <p:txBody>
                <a:bodyPr spcFirstLastPara="1" wrap="none" lIns="91440" tIns="45720" rIns="91440" bIns="45720" numCol="1">
                  <a:prstTxWarp prst="textArchDown">
                    <a:avLst>
                      <a:gd name="adj" fmla="val 20587222"/>
                    </a:avLst>
                  </a:prstTxWarp>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base" latinLnBrk="0" hangingPunct="1">
                    <a:lnSpc>
                      <a:spcPct val="100000"/>
                    </a:lnSpc>
                    <a:spcBef>
                      <a:spcPts val="0"/>
                    </a:spcBef>
                    <a:spcAft>
                      <a:spcPct val="0"/>
                    </a:spcAft>
                    <a:buClrTx/>
                    <a:buSzTx/>
                    <a:buFontTx/>
                    <a:buNone/>
                    <a:tabLst/>
                    <a:defRPr/>
                  </a:pPr>
                  <a:r>
                    <a:rPr kumimoji="0" lang="en-US" sz="1100" b="1" i="0" u="none" strike="noStrike" kern="1200" cap="none" spc="0" normalizeH="0" baseline="0" noProof="0" dirty="0">
                      <a:ln>
                        <a:noFill/>
                      </a:ln>
                      <a:solidFill>
                        <a:srgbClr val="FFFFFF">
                          <a:lumMod val="65000"/>
                        </a:srgbClr>
                      </a:solidFill>
                      <a:effectLst/>
                      <a:uLnTx/>
                      <a:uFillTx/>
                      <a:latin typeface="Arial Black" panose="020B0A04020102020204" pitchFamily="34" charset="0"/>
                      <a:ea typeface="+mn-ea"/>
                      <a:cs typeface="+mn-cs"/>
                    </a:rPr>
                    <a:t>LEADERSHIP</a:t>
                  </a:r>
                </a:p>
              </p:txBody>
            </p:sp>
          </p:grpSp>
          <p:sp>
            <p:nvSpPr>
              <p:cNvPr id="7" name="Hexagon 6">
                <a:extLst>
                  <a:ext uri="{FF2B5EF4-FFF2-40B4-BE49-F238E27FC236}">
                    <a16:creationId xmlns:a16="http://schemas.microsoft.com/office/drawing/2014/main" id="{1986EFE9-D971-4A71-A8FE-536AA0202BEB}"/>
                  </a:ext>
                </a:extLst>
              </p:cNvPr>
              <p:cNvSpPr/>
              <p:nvPr/>
            </p:nvSpPr>
            <p:spPr bwMode="gray">
              <a:xfrm>
                <a:off x="5259296" y="4752829"/>
                <a:ext cx="1233385" cy="1195492"/>
              </a:xfrm>
              <a:prstGeom prst="hexagon">
                <a:avLst/>
              </a:prstGeom>
              <a:solidFill>
                <a:srgbClr val="FFC000"/>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61200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Collab place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8" name="Hexagon 7">
                <a:extLst>
                  <a:ext uri="{FF2B5EF4-FFF2-40B4-BE49-F238E27FC236}">
                    <a16:creationId xmlns:a16="http://schemas.microsoft.com/office/drawing/2014/main" id="{43B575E2-AB5A-4B63-83D2-B61CDA7C7692}"/>
                  </a:ext>
                </a:extLst>
              </p:cNvPr>
              <p:cNvSpPr/>
              <p:nvPr/>
            </p:nvSpPr>
            <p:spPr bwMode="gray">
              <a:xfrm>
                <a:off x="4265383" y="2934479"/>
                <a:ext cx="1254996" cy="1195492"/>
              </a:xfrm>
              <a:prstGeom prst="hexagon">
                <a:avLst/>
              </a:prstGeom>
              <a:solidFill>
                <a:srgbClr val="FEC10D"/>
              </a:solidFill>
              <a:ln w="12700" cap="flat" cmpd="sng" algn="ctr">
                <a:noFill/>
                <a:prstDash val="solid"/>
                <a:round/>
                <a:headEnd type="none" w="med" len="med"/>
                <a:tailEnd type="none" w="med" len="med"/>
              </a:ln>
              <a:effectLst/>
            </p:spPr>
            <p:txBody>
              <a:bodyPr vert="horz" wrap="square" lIns="0" tIns="61200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9" name="Hexagon 8">
                <a:extLst>
                  <a:ext uri="{FF2B5EF4-FFF2-40B4-BE49-F238E27FC236}">
                    <a16:creationId xmlns:a16="http://schemas.microsoft.com/office/drawing/2014/main" id="{4A14526F-1EAA-41F1-AE5A-AD9E3CD13239}"/>
                  </a:ext>
                </a:extLst>
              </p:cNvPr>
              <p:cNvSpPr/>
              <p:nvPr/>
            </p:nvSpPr>
            <p:spPr bwMode="gray">
              <a:xfrm>
                <a:off x="4265436" y="4141419"/>
                <a:ext cx="1254996" cy="1195492"/>
              </a:xfrm>
              <a:prstGeom prst="hexagon">
                <a:avLst/>
              </a:prstGeom>
              <a:solidFill>
                <a:srgbClr val="FEC10D"/>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612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strike="noStrike" kern="1200" cap="none" spc="0" normalizeH="0" baseline="0" noProof="0" dirty="0" smtClean="0">
                    <a:ln>
                      <a:noFill/>
                    </a:ln>
                    <a:solidFill>
                      <a:srgbClr val="FFFFFF"/>
                    </a:solidFill>
                    <a:effectLst/>
                    <a:uLnTx/>
                    <a:uFillTx/>
                    <a:latin typeface="Arial"/>
                    <a:ea typeface="+mn-ea"/>
                    <a:cs typeface="+mn-cs"/>
                  </a:rPr>
                  <a:t>Training</a:t>
                </a:r>
                <a:endParaRPr kumimoji="0" lang="en-US" sz="1050" b="0" i="0" strike="noStrike" kern="1200" cap="none" spc="0" normalizeH="0" baseline="0" noProof="0" dirty="0">
                  <a:ln>
                    <a:noFill/>
                  </a:ln>
                  <a:solidFill>
                    <a:srgbClr val="FFFFFF"/>
                  </a:solidFill>
                  <a:effectLst/>
                  <a:uLnTx/>
                  <a:uFillTx/>
                  <a:latin typeface="Arial"/>
                  <a:ea typeface="+mn-ea"/>
                  <a:cs typeface="+mn-cs"/>
                </a:endParaRPr>
              </a:p>
            </p:txBody>
          </p:sp>
          <p:sp>
            <p:nvSpPr>
              <p:cNvPr id="10" name="Hexagon 9">
                <a:extLst>
                  <a:ext uri="{FF2B5EF4-FFF2-40B4-BE49-F238E27FC236}">
                    <a16:creationId xmlns:a16="http://schemas.microsoft.com/office/drawing/2014/main" id="{E299C426-DBDD-45BB-B2D6-288892D32226}"/>
                  </a:ext>
                </a:extLst>
              </p:cNvPr>
              <p:cNvSpPr/>
              <p:nvPr/>
            </p:nvSpPr>
            <p:spPr bwMode="gray">
              <a:xfrm>
                <a:off x="6230434" y="2922236"/>
                <a:ext cx="1254996" cy="1195492"/>
              </a:xfrm>
              <a:prstGeom prst="hexagon">
                <a:avLst/>
              </a:prstGeom>
              <a:solidFill>
                <a:srgbClr val="FEC10D"/>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61200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Sharing sources</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1" name="Hexagon 10">
                <a:extLst>
                  <a:ext uri="{FF2B5EF4-FFF2-40B4-BE49-F238E27FC236}">
                    <a16:creationId xmlns:a16="http://schemas.microsoft.com/office/drawing/2014/main" id="{9D555CE2-743A-40D7-BA8B-A28746D85A06}"/>
                  </a:ext>
                </a:extLst>
              </p:cNvPr>
              <p:cNvSpPr/>
              <p:nvPr/>
            </p:nvSpPr>
            <p:spPr bwMode="gray">
              <a:xfrm>
                <a:off x="6230434" y="4141419"/>
                <a:ext cx="1254996" cy="1195492"/>
              </a:xfrm>
              <a:prstGeom prst="hexagon">
                <a:avLst/>
              </a:prstGeom>
              <a:solidFill>
                <a:srgbClr val="FEC10D"/>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612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dirty="0" smtClean="0">
                    <a:ln>
                      <a:noFill/>
                    </a:ln>
                    <a:solidFill>
                      <a:srgbClr val="FFFFFF"/>
                    </a:solidFill>
                    <a:effectLst/>
                    <a:uLnTx/>
                    <a:uFillTx/>
                    <a:latin typeface="Arial"/>
                    <a:ea typeface="+mn-ea"/>
                    <a:cs typeface="+mn-cs"/>
                  </a:rPr>
                  <a:t>Tools / platform</a:t>
                </a:r>
                <a:endParaRPr kumimoji="0" lang="en-US" sz="1400" b="0" i="0" strike="noStrike" kern="1200" cap="none" spc="0" normalizeH="0" baseline="0" noProof="0" dirty="0">
                  <a:ln>
                    <a:noFill/>
                  </a:ln>
                  <a:solidFill>
                    <a:srgbClr val="FFFFFF"/>
                  </a:solidFill>
                  <a:effectLst/>
                  <a:uLnTx/>
                  <a:uFillTx/>
                  <a:latin typeface="Arial"/>
                  <a:ea typeface="+mn-ea"/>
                  <a:cs typeface="+mn-cs"/>
                </a:endParaRPr>
              </a:p>
            </p:txBody>
          </p:sp>
          <p:sp>
            <p:nvSpPr>
              <p:cNvPr id="12" name="Hexagon 11">
                <a:extLst>
                  <a:ext uri="{FF2B5EF4-FFF2-40B4-BE49-F238E27FC236}">
                    <a16:creationId xmlns:a16="http://schemas.microsoft.com/office/drawing/2014/main" id="{5D144A5E-6F45-4F94-BEF1-536CE8BBB2D4}"/>
                  </a:ext>
                </a:extLst>
              </p:cNvPr>
              <p:cNvSpPr/>
              <p:nvPr/>
            </p:nvSpPr>
            <p:spPr bwMode="gray">
              <a:xfrm>
                <a:off x="7231983" y="3529449"/>
                <a:ext cx="1254996" cy="1195492"/>
              </a:xfrm>
              <a:prstGeom prst="hexagon">
                <a:avLst/>
              </a:prstGeom>
              <a:solidFill>
                <a:srgbClr val="FEC10D"/>
              </a:solidFill>
              <a:ln>
                <a:no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0" tIns="612000" rIns="0" bIns="0" numCol="1" rtlCol="0" anchor="ctr" anchorCtr="0" compatLnSpc="1">
                <a:prstTxWarp prst="textNoShape">
                  <a:avLst/>
                </a:prstTxWarp>
                <a:noAutofit/>
              </a:bodyPr>
              <a:lstStyle/>
              <a:p>
                <a:pPr lvl="0" algn="ctr">
                  <a:defRPr/>
                </a:pPr>
                <a:r>
                  <a:rPr lang="en-US" sz="1200" dirty="0" smtClean="0">
                    <a:solidFill>
                      <a:srgbClr val="FFFFFF"/>
                    </a:solidFill>
                  </a:rPr>
                  <a:t>Agile and responsive</a:t>
                </a:r>
                <a:endParaRPr lang="en-US" sz="1200" dirty="0">
                  <a:solidFill>
                    <a:srgbClr val="FFFFFF"/>
                  </a:solidFill>
                </a:endParaRPr>
              </a:p>
            </p:txBody>
          </p:sp>
          <p:sp>
            <p:nvSpPr>
              <p:cNvPr id="13" name="Hexagon 12">
                <a:extLst>
                  <a:ext uri="{FF2B5EF4-FFF2-40B4-BE49-F238E27FC236}">
                    <a16:creationId xmlns:a16="http://schemas.microsoft.com/office/drawing/2014/main" id="{52CCE0D5-668B-441B-ABD8-72F0AAEB3389}"/>
                  </a:ext>
                </a:extLst>
              </p:cNvPr>
              <p:cNvSpPr/>
              <p:nvPr/>
            </p:nvSpPr>
            <p:spPr bwMode="gray">
              <a:xfrm>
                <a:off x="3272614" y="3542238"/>
                <a:ext cx="1254996" cy="1195492"/>
              </a:xfrm>
              <a:prstGeom prst="hexagon">
                <a:avLst/>
              </a:prstGeom>
              <a:solidFill>
                <a:srgbClr val="FEC10D"/>
              </a:solidFill>
              <a:ln w="12700" cap="flat" cmpd="sng" algn="ctr">
                <a:noFill/>
                <a:prstDash val="solid"/>
                <a:round/>
                <a:headEnd type="none" w="med" len="med"/>
                <a:tailEnd type="none" w="med" len="med"/>
              </a:ln>
              <a:effectLst/>
            </p:spPr>
            <p:txBody>
              <a:bodyPr vert="horz" wrap="square" lIns="0" tIns="612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Arial"/>
                    <a:ea typeface="+mn-ea"/>
                    <a:cs typeface="+mn-cs"/>
                  </a:rPr>
                  <a:t>Funding</a:t>
                </a:r>
                <a:endParaRPr kumimoji="0" lang="en-US" sz="1050" b="0" i="0" u="none" strike="noStrike" kern="1200" cap="none" spc="0" normalizeH="0" baseline="0" noProof="0" dirty="0">
                  <a:ln>
                    <a:noFill/>
                  </a:ln>
                  <a:solidFill>
                    <a:srgbClr val="FFFFFF"/>
                  </a:solidFill>
                  <a:effectLst/>
                  <a:uLnTx/>
                  <a:uFillTx/>
                  <a:latin typeface="Arial"/>
                  <a:ea typeface="+mn-ea"/>
                  <a:cs typeface="+mn-cs"/>
                </a:endParaRPr>
              </a:p>
            </p:txBody>
          </p:sp>
          <p:sp>
            <p:nvSpPr>
              <p:cNvPr id="14" name="Hexagon 13">
                <a:extLst>
                  <a:ext uri="{FF2B5EF4-FFF2-40B4-BE49-F238E27FC236}">
                    <a16:creationId xmlns:a16="http://schemas.microsoft.com/office/drawing/2014/main" id="{A5A17DC6-41FF-4A54-A888-62F7870E1B5B}"/>
                  </a:ext>
                </a:extLst>
              </p:cNvPr>
              <p:cNvSpPr/>
              <p:nvPr/>
            </p:nvSpPr>
            <p:spPr bwMode="gray">
              <a:xfrm>
                <a:off x="5258568" y="2316054"/>
                <a:ext cx="1234113" cy="1195492"/>
              </a:xfrm>
              <a:prstGeom prst="hexagon">
                <a:avLst/>
              </a:prstGeom>
              <a:solidFill>
                <a:srgbClr val="FEC10D"/>
              </a:solidFill>
              <a:ln w="12700" cap="flat" cmpd="sng" algn="ctr">
                <a:noFill/>
                <a:prstDash val="solid"/>
                <a:round/>
                <a:headEnd type="none" w="med" len="med"/>
                <a:tailEnd type="none" w="med" len="med"/>
              </a:ln>
              <a:effectLst/>
            </p:spPr>
            <p:txBody>
              <a:bodyPr vert="horz" wrap="square" lIns="0" tIns="61200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smtClean="0">
                    <a:ln>
                      <a:noFill/>
                    </a:ln>
                    <a:solidFill>
                      <a:srgbClr val="FFFFFF"/>
                    </a:solidFill>
                    <a:effectLst/>
                    <a:uLnTx/>
                    <a:uFillTx/>
                    <a:latin typeface="Arial"/>
                    <a:ea typeface="+mn-ea"/>
                    <a:cs typeface="+mn-cs"/>
                  </a:rPr>
                  <a:t>Economies of scale</a:t>
                </a:r>
                <a:endParaRPr kumimoji="0" lang="en-US" sz="1400" b="0" i="0" u="none" strike="noStrike" kern="1200" cap="none" spc="0" normalizeH="0" baseline="0" noProof="0" dirty="0">
                  <a:ln>
                    <a:noFill/>
                  </a:ln>
                  <a:solidFill>
                    <a:srgbClr val="FFFFFF"/>
                  </a:solidFill>
                  <a:effectLst/>
                  <a:uLnTx/>
                  <a:uFillTx/>
                  <a:latin typeface="Arial"/>
                  <a:ea typeface="+mn-ea"/>
                  <a:cs typeface="+mn-cs"/>
                </a:endParaRPr>
              </a:p>
            </p:txBody>
          </p:sp>
          <p:sp>
            <p:nvSpPr>
              <p:cNvPr id="15" name="Hexagon 14">
                <a:extLst>
                  <a:ext uri="{FF2B5EF4-FFF2-40B4-BE49-F238E27FC236}">
                    <a16:creationId xmlns:a16="http://schemas.microsoft.com/office/drawing/2014/main" id="{13E636E5-2C3B-4587-8E86-2FD4586C610E}"/>
                  </a:ext>
                </a:extLst>
              </p:cNvPr>
              <p:cNvSpPr/>
              <p:nvPr/>
            </p:nvSpPr>
            <p:spPr bwMode="gray">
              <a:xfrm>
                <a:off x="5257460" y="3534441"/>
                <a:ext cx="1231627" cy="1195492"/>
              </a:xfrm>
              <a:prstGeom prst="hexagon">
                <a:avLst/>
              </a:prstGeom>
              <a:solidFill>
                <a:srgbClr val="FFC000"/>
              </a:solidFill>
              <a:ln>
                <a:no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0" tIns="612000" rIns="0" bIns="0" numCol="1" rtlCol="0" anchor="ctr"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strike="noStrike" kern="1200" cap="none" spc="0" normalizeH="0" baseline="0" noProof="0" dirty="0" err="1" smtClean="0">
                    <a:ln>
                      <a:noFill/>
                    </a:ln>
                    <a:solidFill>
                      <a:srgbClr val="FFFFFF"/>
                    </a:solidFill>
                    <a:effectLst/>
                    <a:uLnTx/>
                    <a:uFillTx/>
                    <a:latin typeface="Arial"/>
                    <a:ea typeface="+mn-ea"/>
                    <a:cs typeface="+mn-cs"/>
                  </a:rPr>
                  <a:t>Partneship</a:t>
                </a:r>
                <a:r>
                  <a:rPr kumimoji="0" lang="en-US" sz="1400" b="0" i="0" strike="noStrike" kern="1200" cap="none" spc="0" normalizeH="0" baseline="0" noProof="0" dirty="0" smtClean="0">
                    <a:ln>
                      <a:noFill/>
                    </a:ln>
                    <a:solidFill>
                      <a:srgbClr val="FFFFFF"/>
                    </a:solidFill>
                    <a:effectLst/>
                    <a:uLnTx/>
                    <a:uFillTx/>
                    <a:latin typeface="Arial"/>
                    <a:ea typeface="+mn-ea"/>
                    <a:cs typeface="+mn-cs"/>
                  </a:rPr>
                  <a:t>  </a:t>
                </a:r>
                <a:r>
                  <a:rPr kumimoji="0" lang="en-US" sz="1400" b="0" i="0" strike="noStrike" kern="1200" cap="none" spc="0" normalizeH="0" baseline="0" noProof="0" dirty="0">
                    <a:ln>
                      <a:noFill/>
                    </a:ln>
                    <a:solidFill>
                      <a:srgbClr val="FFFFFF"/>
                    </a:solidFill>
                    <a:effectLst/>
                    <a:uLnTx/>
                    <a:uFillTx/>
                    <a:latin typeface="Arial"/>
                    <a:ea typeface="+mn-ea"/>
                    <a:cs typeface="+mn-cs"/>
                  </a:rPr>
                  <a:t>&amp; Alliances</a:t>
                </a:r>
              </a:p>
            </p:txBody>
          </p:sp>
          <p:sp>
            <p:nvSpPr>
              <p:cNvPr id="16" name="Freeform 477">
                <a:extLst>
                  <a:ext uri="{FF2B5EF4-FFF2-40B4-BE49-F238E27FC236}">
                    <a16:creationId xmlns:a16="http://schemas.microsoft.com/office/drawing/2014/main" id="{53A4790F-6979-4ECC-B950-243CE1D655B7}"/>
                  </a:ext>
                </a:extLst>
              </p:cNvPr>
              <p:cNvSpPr>
                <a:spLocks noEditPoints="1"/>
              </p:cNvSpPr>
              <p:nvPr/>
            </p:nvSpPr>
            <p:spPr bwMode="black">
              <a:xfrm>
                <a:off x="6633933" y="3237193"/>
                <a:ext cx="442138" cy="326684"/>
              </a:xfrm>
              <a:custGeom>
                <a:avLst/>
                <a:gdLst>
                  <a:gd name="T0" fmla="*/ 305 w 337"/>
                  <a:gd name="T1" fmla="*/ 164 h 249"/>
                  <a:gd name="T2" fmla="*/ 305 w 337"/>
                  <a:gd name="T3" fmla="*/ 114 h 249"/>
                  <a:gd name="T4" fmla="*/ 179 w 337"/>
                  <a:gd name="T5" fmla="*/ 114 h 249"/>
                  <a:gd name="T6" fmla="*/ 179 w 337"/>
                  <a:gd name="T7" fmla="*/ 85 h 249"/>
                  <a:gd name="T8" fmla="*/ 211 w 337"/>
                  <a:gd name="T9" fmla="*/ 85 h 249"/>
                  <a:gd name="T10" fmla="*/ 211 w 337"/>
                  <a:gd name="T11" fmla="*/ 0 h 249"/>
                  <a:gd name="T12" fmla="*/ 126 w 337"/>
                  <a:gd name="T13" fmla="*/ 0 h 249"/>
                  <a:gd name="T14" fmla="*/ 126 w 337"/>
                  <a:gd name="T15" fmla="*/ 85 h 249"/>
                  <a:gd name="T16" fmla="*/ 157 w 337"/>
                  <a:gd name="T17" fmla="*/ 85 h 249"/>
                  <a:gd name="T18" fmla="*/ 157 w 337"/>
                  <a:gd name="T19" fmla="*/ 114 h 249"/>
                  <a:gd name="T20" fmla="*/ 31 w 337"/>
                  <a:gd name="T21" fmla="*/ 114 h 249"/>
                  <a:gd name="T22" fmla="*/ 31 w 337"/>
                  <a:gd name="T23" fmla="*/ 164 h 249"/>
                  <a:gd name="T24" fmla="*/ 0 w 337"/>
                  <a:gd name="T25" fmla="*/ 164 h 249"/>
                  <a:gd name="T26" fmla="*/ 0 w 337"/>
                  <a:gd name="T27" fmla="*/ 249 h 249"/>
                  <a:gd name="T28" fmla="*/ 85 w 337"/>
                  <a:gd name="T29" fmla="*/ 249 h 249"/>
                  <a:gd name="T30" fmla="*/ 85 w 337"/>
                  <a:gd name="T31" fmla="*/ 164 h 249"/>
                  <a:gd name="T32" fmla="*/ 53 w 337"/>
                  <a:gd name="T33" fmla="*/ 164 h 249"/>
                  <a:gd name="T34" fmla="*/ 53 w 337"/>
                  <a:gd name="T35" fmla="*/ 136 h 249"/>
                  <a:gd name="T36" fmla="*/ 157 w 337"/>
                  <a:gd name="T37" fmla="*/ 136 h 249"/>
                  <a:gd name="T38" fmla="*/ 157 w 337"/>
                  <a:gd name="T39" fmla="*/ 164 h 249"/>
                  <a:gd name="T40" fmla="*/ 126 w 337"/>
                  <a:gd name="T41" fmla="*/ 164 h 249"/>
                  <a:gd name="T42" fmla="*/ 126 w 337"/>
                  <a:gd name="T43" fmla="*/ 249 h 249"/>
                  <a:gd name="T44" fmla="*/ 211 w 337"/>
                  <a:gd name="T45" fmla="*/ 249 h 249"/>
                  <a:gd name="T46" fmla="*/ 211 w 337"/>
                  <a:gd name="T47" fmla="*/ 164 h 249"/>
                  <a:gd name="T48" fmla="*/ 179 w 337"/>
                  <a:gd name="T49" fmla="*/ 164 h 249"/>
                  <a:gd name="T50" fmla="*/ 179 w 337"/>
                  <a:gd name="T51" fmla="*/ 136 h 249"/>
                  <a:gd name="T52" fmla="*/ 283 w 337"/>
                  <a:gd name="T53" fmla="*/ 136 h 249"/>
                  <a:gd name="T54" fmla="*/ 283 w 337"/>
                  <a:gd name="T55" fmla="*/ 164 h 249"/>
                  <a:gd name="T56" fmla="*/ 252 w 337"/>
                  <a:gd name="T57" fmla="*/ 164 h 249"/>
                  <a:gd name="T58" fmla="*/ 252 w 337"/>
                  <a:gd name="T59" fmla="*/ 249 h 249"/>
                  <a:gd name="T60" fmla="*/ 337 w 337"/>
                  <a:gd name="T61" fmla="*/ 249 h 249"/>
                  <a:gd name="T62" fmla="*/ 337 w 337"/>
                  <a:gd name="T63" fmla="*/ 164 h 249"/>
                  <a:gd name="T64" fmla="*/ 305 w 337"/>
                  <a:gd name="T65" fmla="*/ 164 h 249"/>
                  <a:gd name="T66" fmla="*/ 148 w 337"/>
                  <a:gd name="T67" fmla="*/ 22 h 249"/>
                  <a:gd name="T68" fmla="*/ 189 w 337"/>
                  <a:gd name="T69" fmla="*/ 22 h 249"/>
                  <a:gd name="T70" fmla="*/ 189 w 337"/>
                  <a:gd name="T71" fmla="*/ 63 h 249"/>
                  <a:gd name="T72" fmla="*/ 148 w 337"/>
                  <a:gd name="T73" fmla="*/ 63 h 249"/>
                  <a:gd name="T74" fmla="*/ 148 w 337"/>
                  <a:gd name="T75" fmla="*/ 22 h 249"/>
                  <a:gd name="T76" fmla="*/ 63 w 337"/>
                  <a:gd name="T77" fmla="*/ 227 h 249"/>
                  <a:gd name="T78" fmla="*/ 22 w 337"/>
                  <a:gd name="T79" fmla="*/ 227 h 249"/>
                  <a:gd name="T80" fmla="*/ 22 w 337"/>
                  <a:gd name="T81" fmla="*/ 186 h 249"/>
                  <a:gd name="T82" fmla="*/ 63 w 337"/>
                  <a:gd name="T83" fmla="*/ 186 h 249"/>
                  <a:gd name="T84" fmla="*/ 63 w 337"/>
                  <a:gd name="T85" fmla="*/ 227 h 249"/>
                  <a:gd name="T86" fmla="*/ 189 w 337"/>
                  <a:gd name="T87" fmla="*/ 227 h 249"/>
                  <a:gd name="T88" fmla="*/ 148 w 337"/>
                  <a:gd name="T89" fmla="*/ 227 h 249"/>
                  <a:gd name="T90" fmla="*/ 148 w 337"/>
                  <a:gd name="T91" fmla="*/ 186 h 249"/>
                  <a:gd name="T92" fmla="*/ 189 w 337"/>
                  <a:gd name="T93" fmla="*/ 186 h 249"/>
                  <a:gd name="T94" fmla="*/ 189 w 337"/>
                  <a:gd name="T95" fmla="*/ 227 h 249"/>
                  <a:gd name="T96" fmla="*/ 315 w 337"/>
                  <a:gd name="T97" fmla="*/ 227 h 249"/>
                  <a:gd name="T98" fmla="*/ 274 w 337"/>
                  <a:gd name="T99" fmla="*/ 227 h 249"/>
                  <a:gd name="T100" fmla="*/ 274 w 337"/>
                  <a:gd name="T101" fmla="*/ 186 h 249"/>
                  <a:gd name="T102" fmla="*/ 315 w 337"/>
                  <a:gd name="T103" fmla="*/ 186 h 249"/>
                  <a:gd name="T104" fmla="*/ 315 w 337"/>
                  <a:gd name="T105" fmla="*/ 227 h 2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37" h="249">
                    <a:moveTo>
                      <a:pt x="305" y="164"/>
                    </a:moveTo>
                    <a:lnTo>
                      <a:pt x="305" y="114"/>
                    </a:lnTo>
                    <a:lnTo>
                      <a:pt x="179" y="114"/>
                    </a:lnTo>
                    <a:lnTo>
                      <a:pt x="179" y="85"/>
                    </a:lnTo>
                    <a:lnTo>
                      <a:pt x="211" y="85"/>
                    </a:lnTo>
                    <a:lnTo>
                      <a:pt x="211" y="0"/>
                    </a:lnTo>
                    <a:lnTo>
                      <a:pt x="126" y="0"/>
                    </a:lnTo>
                    <a:lnTo>
                      <a:pt x="126" y="85"/>
                    </a:lnTo>
                    <a:lnTo>
                      <a:pt x="157" y="85"/>
                    </a:lnTo>
                    <a:lnTo>
                      <a:pt x="157" y="114"/>
                    </a:lnTo>
                    <a:lnTo>
                      <a:pt x="31" y="114"/>
                    </a:lnTo>
                    <a:lnTo>
                      <a:pt x="31" y="164"/>
                    </a:lnTo>
                    <a:lnTo>
                      <a:pt x="0" y="164"/>
                    </a:lnTo>
                    <a:lnTo>
                      <a:pt x="0" y="249"/>
                    </a:lnTo>
                    <a:lnTo>
                      <a:pt x="85" y="249"/>
                    </a:lnTo>
                    <a:lnTo>
                      <a:pt x="85" y="164"/>
                    </a:lnTo>
                    <a:lnTo>
                      <a:pt x="53" y="164"/>
                    </a:lnTo>
                    <a:lnTo>
                      <a:pt x="53" y="136"/>
                    </a:lnTo>
                    <a:lnTo>
                      <a:pt x="157" y="136"/>
                    </a:lnTo>
                    <a:lnTo>
                      <a:pt x="157" y="164"/>
                    </a:lnTo>
                    <a:lnTo>
                      <a:pt x="126" y="164"/>
                    </a:lnTo>
                    <a:lnTo>
                      <a:pt x="126" y="249"/>
                    </a:lnTo>
                    <a:lnTo>
                      <a:pt x="211" y="249"/>
                    </a:lnTo>
                    <a:lnTo>
                      <a:pt x="211" y="164"/>
                    </a:lnTo>
                    <a:lnTo>
                      <a:pt x="179" y="164"/>
                    </a:lnTo>
                    <a:lnTo>
                      <a:pt x="179" y="136"/>
                    </a:lnTo>
                    <a:lnTo>
                      <a:pt x="283" y="136"/>
                    </a:lnTo>
                    <a:lnTo>
                      <a:pt x="283" y="164"/>
                    </a:lnTo>
                    <a:lnTo>
                      <a:pt x="252" y="164"/>
                    </a:lnTo>
                    <a:lnTo>
                      <a:pt x="252" y="249"/>
                    </a:lnTo>
                    <a:lnTo>
                      <a:pt x="337" y="249"/>
                    </a:lnTo>
                    <a:lnTo>
                      <a:pt x="337" y="164"/>
                    </a:lnTo>
                    <a:lnTo>
                      <a:pt x="305" y="164"/>
                    </a:lnTo>
                    <a:close/>
                    <a:moveTo>
                      <a:pt x="148" y="22"/>
                    </a:moveTo>
                    <a:lnTo>
                      <a:pt x="189" y="22"/>
                    </a:lnTo>
                    <a:lnTo>
                      <a:pt x="189" y="63"/>
                    </a:lnTo>
                    <a:lnTo>
                      <a:pt x="148" y="63"/>
                    </a:lnTo>
                    <a:lnTo>
                      <a:pt x="148" y="22"/>
                    </a:lnTo>
                    <a:close/>
                    <a:moveTo>
                      <a:pt x="63" y="227"/>
                    </a:moveTo>
                    <a:lnTo>
                      <a:pt x="22" y="227"/>
                    </a:lnTo>
                    <a:lnTo>
                      <a:pt x="22" y="186"/>
                    </a:lnTo>
                    <a:lnTo>
                      <a:pt x="63" y="186"/>
                    </a:lnTo>
                    <a:lnTo>
                      <a:pt x="63" y="227"/>
                    </a:lnTo>
                    <a:close/>
                    <a:moveTo>
                      <a:pt x="189" y="227"/>
                    </a:moveTo>
                    <a:lnTo>
                      <a:pt x="148" y="227"/>
                    </a:lnTo>
                    <a:lnTo>
                      <a:pt x="148" y="186"/>
                    </a:lnTo>
                    <a:lnTo>
                      <a:pt x="189" y="186"/>
                    </a:lnTo>
                    <a:lnTo>
                      <a:pt x="189" y="227"/>
                    </a:lnTo>
                    <a:close/>
                    <a:moveTo>
                      <a:pt x="315" y="227"/>
                    </a:moveTo>
                    <a:lnTo>
                      <a:pt x="274" y="227"/>
                    </a:lnTo>
                    <a:lnTo>
                      <a:pt x="274" y="186"/>
                    </a:lnTo>
                    <a:lnTo>
                      <a:pt x="315" y="186"/>
                    </a:lnTo>
                    <a:lnTo>
                      <a:pt x="315" y="227"/>
                    </a:lnTo>
                    <a:close/>
                  </a:path>
                </a:pathLst>
              </a:custGeom>
              <a:solidFill>
                <a:srgbClr val="FFFFFF"/>
              </a:solidFill>
              <a:ln>
                <a:noFill/>
              </a:ln>
            </p:spPr>
            <p:txBody>
              <a:bodyPr vert="horz" wrap="square" lIns="0" tIns="61200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17" name="Freeform 485">
                <a:extLst>
                  <a:ext uri="{FF2B5EF4-FFF2-40B4-BE49-F238E27FC236}">
                    <a16:creationId xmlns:a16="http://schemas.microsoft.com/office/drawing/2014/main" id="{3B7C0973-5B1F-40A9-8A0D-162BE26DD6B7}"/>
                  </a:ext>
                </a:extLst>
              </p:cNvPr>
              <p:cNvSpPr>
                <a:spLocks noEditPoints="1"/>
              </p:cNvSpPr>
              <p:nvPr/>
            </p:nvSpPr>
            <p:spPr bwMode="black">
              <a:xfrm>
                <a:off x="7639801" y="3780483"/>
                <a:ext cx="400100" cy="370153"/>
              </a:xfrm>
              <a:custGeom>
                <a:avLst/>
                <a:gdLst>
                  <a:gd name="T0" fmla="*/ 64 w 234"/>
                  <a:gd name="T1" fmla="*/ 177 h 215"/>
                  <a:gd name="T2" fmla="*/ 37 w 234"/>
                  <a:gd name="T3" fmla="*/ 131 h 215"/>
                  <a:gd name="T4" fmla="*/ 10 w 234"/>
                  <a:gd name="T5" fmla="*/ 177 h 215"/>
                  <a:gd name="T6" fmla="*/ 30 w 234"/>
                  <a:gd name="T7" fmla="*/ 214 h 215"/>
                  <a:gd name="T8" fmla="*/ 109 w 234"/>
                  <a:gd name="T9" fmla="*/ 200 h 215"/>
                  <a:gd name="T10" fmla="*/ 44 w 234"/>
                  <a:gd name="T11" fmla="*/ 157 h 215"/>
                  <a:gd name="T12" fmla="*/ 37 w 234"/>
                  <a:gd name="T13" fmla="*/ 151 h 215"/>
                  <a:gd name="T14" fmla="*/ 28 w 234"/>
                  <a:gd name="T15" fmla="*/ 79 h 215"/>
                  <a:gd name="T16" fmla="*/ 94 w 234"/>
                  <a:gd name="T17" fmla="*/ 115 h 215"/>
                  <a:gd name="T18" fmla="*/ 108 w 234"/>
                  <a:gd name="T19" fmla="*/ 65 h 215"/>
                  <a:gd name="T20" fmla="*/ 98 w 234"/>
                  <a:gd name="T21" fmla="*/ 37 h 215"/>
                  <a:gd name="T22" fmla="*/ 24 w 234"/>
                  <a:gd name="T23" fmla="*/ 37 h 215"/>
                  <a:gd name="T24" fmla="*/ 14 w 234"/>
                  <a:gd name="T25" fmla="*/ 65 h 215"/>
                  <a:gd name="T26" fmla="*/ 28 w 234"/>
                  <a:gd name="T27" fmla="*/ 115 h 215"/>
                  <a:gd name="T28" fmla="*/ 61 w 234"/>
                  <a:gd name="T29" fmla="*/ 14 h 215"/>
                  <a:gd name="T30" fmla="*/ 61 w 234"/>
                  <a:gd name="T31" fmla="*/ 59 h 215"/>
                  <a:gd name="T32" fmla="*/ 61 w 234"/>
                  <a:gd name="T33" fmla="*/ 14 h 215"/>
                  <a:gd name="T34" fmla="*/ 173 w 234"/>
                  <a:gd name="T35" fmla="*/ 100 h 215"/>
                  <a:gd name="T36" fmla="*/ 149 w 234"/>
                  <a:gd name="T37" fmla="*/ 164 h 215"/>
                  <a:gd name="T38" fmla="*/ 126 w 234"/>
                  <a:gd name="T39" fmla="*/ 215 h 215"/>
                  <a:gd name="T40" fmla="*/ 140 w 234"/>
                  <a:gd name="T41" fmla="*/ 178 h 215"/>
                  <a:gd name="T42" fmla="*/ 206 w 234"/>
                  <a:gd name="T43" fmla="*/ 215 h 215"/>
                  <a:gd name="T44" fmla="*/ 220 w 234"/>
                  <a:gd name="T45" fmla="*/ 164 h 215"/>
                  <a:gd name="T46" fmla="*/ 210 w 234"/>
                  <a:gd name="T47" fmla="*/ 136 h 215"/>
                  <a:gd name="T48" fmla="*/ 196 w 234"/>
                  <a:gd name="T49" fmla="*/ 136 h 215"/>
                  <a:gd name="T50" fmla="*/ 150 w 234"/>
                  <a:gd name="T51" fmla="*/ 136 h 215"/>
                  <a:gd name="T52" fmla="*/ 204 w 234"/>
                  <a:gd name="T53" fmla="*/ 61 h 215"/>
                  <a:gd name="T54" fmla="*/ 125 w 234"/>
                  <a:gd name="T55" fmla="*/ 0 h 215"/>
                  <a:gd name="T56" fmla="*/ 190 w 234"/>
                  <a:gd name="T57" fmla="*/ 14 h 215"/>
                  <a:gd name="T58" fmla="*/ 170 w 234"/>
                  <a:gd name="T59" fmla="*/ 41 h 215"/>
                  <a:gd name="T60" fmla="*/ 197 w 234"/>
                  <a:gd name="T61" fmla="*/ 87 h 215"/>
                  <a:gd name="T62" fmla="*/ 224 w 234"/>
                  <a:gd name="T63" fmla="*/ 41 h 215"/>
                  <a:gd name="T64" fmla="*/ 197 w 234"/>
                  <a:gd name="T65" fmla="*/ 67 h 215"/>
                  <a:gd name="T66" fmla="*/ 197 w 234"/>
                  <a:gd name="T67" fmla="*/ 67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34" h="215">
                    <a:moveTo>
                      <a:pt x="44" y="157"/>
                    </a:moveTo>
                    <a:cubicBezTo>
                      <a:pt x="64" y="177"/>
                      <a:pt x="64" y="177"/>
                      <a:pt x="64" y="177"/>
                    </a:cubicBezTo>
                    <a:cubicBezTo>
                      <a:pt x="74" y="167"/>
                      <a:pt x="74" y="167"/>
                      <a:pt x="74" y="167"/>
                    </a:cubicBezTo>
                    <a:cubicBezTo>
                      <a:pt x="37" y="131"/>
                      <a:pt x="37" y="131"/>
                      <a:pt x="37" y="131"/>
                    </a:cubicBezTo>
                    <a:cubicBezTo>
                      <a:pt x="0" y="167"/>
                      <a:pt x="0" y="167"/>
                      <a:pt x="0" y="167"/>
                    </a:cubicBezTo>
                    <a:cubicBezTo>
                      <a:pt x="10" y="177"/>
                      <a:pt x="10" y="177"/>
                      <a:pt x="10" y="177"/>
                    </a:cubicBezTo>
                    <a:cubicBezTo>
                      <a:pt x="30" y="157"/>
                      <a:pt x="30" y="157"/>
                      <a:pt x="30" y="157"/>
                    </a:cubicBezTo>
                    <a:cubicBezTo>
                      <a:pt x="30" y="214"/>
                      <a:pt x="30" y="214"/>
                      <a:pt x="30" y="214"/>
                    </a:cubicBezTo>
                    <a:cubicBezTo>
                      <a:pt x="109" y="214"/>
                      <a:pt x="109" y="214"/>
                      <a:pt x="109" y="214"/>
                    </a:cubicBezTo>
                    <a:cubicBezTo>
                      <a:pt x="109" y="200"/>
                      <a:pt x="109" y="200"/>
                      <a:pt x="109" y="200"/>
                    </a:cubicBezTo>
                    <a:cubicBezTo>
                      <a:pt x="44" y="200"/>
                      <a:pt x="44" y="200"/>
                      <a:pt x="44" y="200"/>
                    </a:cubicBezTo>
                    <a:lnTo>
                      <a:pt x="44" y="157"/>
                    </a:lnTo>
                    <a:close/>
                    <a:moveTo>
                      <a:pt x="37" y="151"/>
                    </a:moveTo>
                    <a:cubicBezTo>
                      <a:pt x="37" y="151"/>
                      <a:pt x="37" y="151"/>
                      <a:pt x="37" y="151"/>
                    </a:cubicBezTo>
                    <a:cubicBezTo>
                      <a:pt x="37" y="151"/>
                      <a:pt x="37" y="151"/>
                      <a:pt x="37" y="151"/>
                    </a:cubicBezTo>
                    <a:close/>
                    <a:moveTo>
                      <a:pt x="28" y="79"/>
                    </a:moveTo>
                    <a:cubicBezTo>
                      <a:pt x="94" y="79"/>
                      <a:pt x="94" y="79"/>
                      <a:pt x="94" y="79"/>
                    </a:cubicBezTo>
                    <a:cubicBezTo>
                      <a:pt x="94" y="115"/>
                      <a:pt x="94" y="115"/>
                      <a:pt x="94" y="115"/>
                    </a:cubicBezTo>
                    <a:cubicBezTo>
                      <a:pt x="108" y="115"/>
                      <a:pt x="108" y="115"/>
                      <a:pt x="108" y="115"/>
                    </a:cubicBezTo>
                    <a:cubicBezTo>
                      <a:pt x="108" y="65"/>
                      <a:pt x="108" y="65"/>
                      <a:pt x="108" y="65"/>
                    </a:cubicBezTo>
                    <a:cubicBezTo>
                      <a:pt x="85" y="65"/>
                      <a:pt x="85" y="65"/>
                      <a:pt x="85" y="65"/>
                    </a:cubicBezTo>
                    <a:cubicBezTo>
                      <a:pt x="93" y="58"/>
                      <a:pt x="98" y="48"/>
                      <a:pt x="98" y="37"/>
                    </a:cubicBezTo>
                    <a:cubicBezTo>
                      <a:pt x="98" y="16"/>
                      <a:pt x="81" y="0"/>
                      <a:pt x="61" y="0"/>
                    </a:cubicBezTo>
                    <a:cubicBezTo>
                      <a:pt x="41" y="0"/>
                      <a:pt x="24" y="16"/>
                      <a:pt x="24" y="37"/>
                    </a:cubicBezTo>
                    <a:cubicBezTo>
                      <a:pt x="24" y="48"/>
                      <a:pt x="29" y="58"/>
                      <a:pt x="37" y="65"/>
                    </a:cubicBezTo>
                    <a:cubicBezTo>
                      <a:pt x="14" y="65"/>
                      <a:pt x="14" y="65"/>
                      <a:pt x="14" y="65"/>
                    </a:cubicBezTo>
                    <a:cubicBezTo>
                      <a:pt x="14" y="115"/>
                      <a:pt x="14" y="115"/>
                      <a:pt x="14" y="115"/>
                    </a:cubicBezTo>
                    <a:cubicBezTo>
                      <a:pt x="28" y="115"/>
                      <a:pt x="28" y="115"/>
                      <a:pt x="28" y="115"/>
                    </a:cubicBezTo>
                    <a:lnTo>
                      <a:pt x="28" y="79"/>
                    </a:lnTo>
                    <a:close/>
                    <a:moveTo>
                      <a:pt x="61" y="14"/>
                    </a:moveTo>
                    <a:cubicBezTo>
                      <a:pt x="74" y="14"/>
                      <a:pt x="84" y="24"/>
                      <a:pt x="84" y="37"/>
                    </a:cubicBezTo>
                    <a:cubicBezTo>
                      <a:pt x="84" y="49"/>
                      <a:pt x="74" y="59"/>
                      <a:pt x="61" y="59"/>
                    </a:cubicBezTo>
                    <a:cubicBezTo>
                      <a:pt x="48" y="59"/>
                      <a:pt x="38" y="49"/>
                      <a:pt x="38" y="37"/>
                    </a:cubicBezTo>
                    <a:cubicBezTo>
                      <a:pt x="38" y="24"/>
                      <a:pt x="48" y="14"/>
                      <a:pt x="61" y="14"/>
                    </a:cubicBezTo>
                    <a:moveTo>
                      <a:pt x="210" y="136"/>
                    </a:moveTo>
                    <a:cubicBezTo>
                      <a:pt x="210" y="116"/>
                      <a:pt x="193" y="100"/>
                      <a:pt x="173" y="100"/>
                    </a:cubicBezTo>
                    <a:cubicBezTo>
                      <a:pt x="153" y="100"/>
                      <a:pt x="136" y="116"/>
                      <a:pt x="136" y="136"/>
                    </a:cubicBezTo>
                    <a:cubicBezTo>
                      <a:pt x="136" y="148"/>
                      <a:pt x="141" y="158"/>
                      <a:pt x="149" y="164"/>
                    </a:cubicBezTo>
                    <a:cubicBezTo>
                      <a:pt x="126" y="164"/>
                      <a:pt x="126" y="164"/>
                      <a:pt x="126" y="164"/>
                    </a:cubicBezTo>
                    <a:cubicBezTo>
                      <a:pt x="126" y="215"/>
                      <a:pt x="126" y="215"/>
                      <a:pt x="126" y="215"/>
                    </a:cubicBezTo>
                    <a:cubicBezTo>
                      <a:pt x="140" y="215"/>
                      <a:pt x="140" y="215"/>
                      <a:pt x="140" y="215"/>
                    </a:cubicBezTo>
                    <a:cubicBezTo>
                      <a:pt x="140" y="178"/>
                      <a:pt x="140" y="178"/>
                      <a:pt x="140" y="178"/>
                    </a:cubicBezTo>
                    <a:cubicBezTo>
                      <a:pt x="206" y="178"/>
                      <a:pt x="206" y="178"/>
                      <a:pt x="206" y="178"/>
                    </a:cubicBezTo>
                    <a:cubicBezTo>
                      <a:pt x="206" y="215"/>
                      <a:pt x="206" y="215"/>
                      <a:pt x="206" y="215"/>
                    </a:cubicBezTo>
                    <a:cubicBezTo>
                      <a:pt x="220" y="215"/>
                      <a:pt x="220" y="215"/>
                      <a:pt x="220" y="215"/>
                    </a:cubicBezTo>
                    <a:cubicBezTo>
                      <a:pt x="220" y="164"/>
                      <a:pt x="220" y="164"/>
                      <a:pt x="220" y="164"/>
                    </a:cubicBezTo>
                    <a:cubicBezTo>
                      <a:pt x="197" y="164"/>
                      <a:pt x="197" y="164"/>
                      <a:pt x="197" y="164"/>
                    </a:cubicBezTo>
                    <a:cubicBezTo>
                      <a:pt x="205" y="158"/>
                      <a:pt x="210" y="148"/>
                      <a:pt x="210" y="136"/>
                    </a:cubicBezTo>
                    <a:moveTo>
                      <a:pt x="173" y="114"/>
                    </a:moveTo>
                    <a:cubicBezTo>
                      <a:pt x="186" y="114"/>
                      <a:pt x="196" y="124"/>
                      <a:pt x="196" y="136"/>
                    </a:cubicBezTo>
                    <a:cubicBezTo>
                      <a:pt x="196" y="149"/>
                      <a:pt x="186" y="159"/>
                      <a:pt x="173" y="159"/>
                    </a:cubicBezTo>
                    <a:cubicBezTo>
                      <a:pt x="160" y="159"/>
                      <a:pt x="150" y="149"/>
                      <a:pt x="150" y="136"/>
                    </a:cubicBezTo>
                    <a:cubicBezTo>
                      <a:pt x="150" y="124"/>
                      <a:pt x="160" y="114"/>
                      <a:pt x="173" y="114"/>
                    </a:cubicBezTo>
                    <a:moveTo>
                      <a:pt x="204" y="61"/>
                    </a:moveTo>
                    <a:cubicBezTo>
                      <a:pt x="204" y="0"/>
                      <a:pt x="204" y="0"/>
                      <a:pt x="204" y="0"/>
                    </a:cubicBezTo>
                    <a:cubicBezTo>
                      <a:pt x="125" y="0"/>
                      <a:pt x="125" y="0"/>
                      <a:pt x="125" y="0"/>
                    </a:cubicBezTo>
                    <a:cubicBezTo>
                      <a:pt x="125" y="14"/>
                      <a:pt x="125" y="14"/>
                      <a:pt x="125" y="14"/>
                    </a:cubicBezTo>
                    <a:cubicBezTo>
                      <a:pt x="190" y="14"/>
                      <a:pt x="190" y="14"/>
                      <a:pt x="190" y="14"/>
                    </a:cubicBezTo>
                    <a:cubicBezTo>
                      <a:pt x="190" y="61"/>
                      <a:pt x="190" y="61"/>
                      <a:pt x="190" y="61"/>
                    </a:cubicBezTo>
                    <a:cubicBezTo>
                      <a:pt x="170" y="41"/>
                      <a:pt x="170" y="41"/>
                      <a:pt x="170" y="41"/>
                    </a:cubicBezTo>
                    <a:cubicBezTo>
                      <a:pt x="160" y="51"/>
                      <a:pt x="160" y="51"/>
                      <a:pt x="160" y="51"/>
                    </a:cubicBezTo>
                    <a:cubicBezTo>
                      <a:pt x="197" y="87"/>
                      <a:pt x="197" y="87"/>
                      <a:pt x="197" y="87"/>
                    </a:cubicBezTo>
                    <a:cubicBezTo>
                      <a:pt x="234" y="51"/>
                      <a:pt x="234" y="51"/>
                      <a:pt x="234" y="51"/>
                    </a:cubicBezTo>
                    <a:cubicBezTo>
                      <a:pt x="224" y="41"/>
                      <a:pt x="224" y="41"/>
                      <a:pt x="224" y="41"/>
                    </a:cubicBezTo>
                    <a:lnTo>
                      <a:pt x="204" y="61"/>
                    </a:lnTo>
                    <a:close/>
                    <a:moveTo>
                      <a:pt x="197" y="67"/>
                    </a:moveTo>
                    <a:cubicBezTo>
                      <a:pt x="197" y="67"/>
                      <a:pt x="197" y="67"/>
                      <a:pt x="197" y="67"/>
                    </a:cubicBezTo>
                    <a:cubicBezTo>
                      <a:pt x="197" y="67"/>
                      <a:pt x="197" y="67"/>
                      <a:pt x="197" y="67"/>
                    </a:cubicBezTo>
                    <a:close/>
                  </a:path>
                </a:pathLst>
              </a:custGeom>
              <a:solidFill>
                <a:srgbClr val="FFFFFF"/>
              </a:solidFill>
              <a:ln>
                <a:noFill/>
              </a:ln>
            </p:spPr>
            <p:txBody>
              <a:bodyPr vert="horz" wrap="square" lIns="0" tIns="61200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18" name="Freeform 528">
                <a:extLst>
                  <a:ext uri="{FF2B5EF4-FFF2-40B4-BE49-F238E27FC236}">
                    <a16:creationId xmlns:a16="http://schemas.microsoft.com/office/drawing/2014/main" id="{3DF5047D-603F-42A6-8D93-E428AC0D5A2B}"/>
                  </a:ext>
                </a:extLst>
              </p:cNvPr>
              <p:cNvSpPr>
                <a:spLocks noEditPoints="1"/>
              </p:cNvSpPr>
              <p:nvPr/>
            </p:nvSpPr>
            <p:spPr bwMode="black">
              <a:xfrm>
                <a:off x="6655581" y="4480167"/>
                <a:ext cx="404703" cy="325738"/>
              </a:xfrm>
              <a:custGeom>
                <a:avLst/>
                <a:gdLst>
                  <a:gd name="T0" fmla="*/ 180 w 208"/>
                  <a:gd name="T1" fmla="*/ 12 h 168"/>
                  <a:gd name="T2" fmla="*/ 168 w 208"/>
                  <a:gd name="T3" fmla="*/ 20 h 168"/>
                  <a:gd name="T4" fmla="*/ 115 w 208"/>
                  <a:gd name="T5" fmla="*/ 20 h 168"/>
                  <a:gd name="T6" fmla="*/ 115 w 208"/>
                  <a:gd name="T7" fmla="*/ 0 h 168"/>
                  <a:gd name="T8" fmla="*/ 0 w 208"/>
                  <a:gd name="T9" fmla="*/ 0 h 168"/>
                  <a:gd name="T10" fmla="*/ 0 w 208"/>
                  <a:gd name="T11" fmla="*/ 56 h 168"/>
                  <a:gd name="T12" fmla="*/ 115 w 208"/>
                  <a:gd name="T13" fmla="*/ 56 h 168"/>
                  <a:gd name="T14" fmla="*/ 115 w 208"/>
                  <a:gd name="T15" fmla="*/ 36 h 168"/>
                  <a:gd name="T16" fmla="*/ 168 w 208"/>
                  <a:gd name="T17" fmla="*/ 36 h 168"/>
                  <a:gd name="T18" fmla="*/ 180 w 208"/>
                  <a:gd name="T19" fmla="*/ 44 h 168"/>
                  <a:gd name="T20" fmla="*/ 208 w 208"/>
                  <a:gd name="T21" fmla="*/ 36 h 168"/>
                  <a:gd name="T22" fmla="*/ 208 w 208"/>
                  <a:gd name="T23" fmla="*/ 20 h 168"/>
                  <a:gd name="T24" fmla="*/ 180 w 208"/>
                  <a:gd name="T25" fmla="*/ 12 h 168"/>
                  <a:gd name="T26" fmla="*/ 99 w 208"/>
                  <a:gd name="T27" fmla="*/ 40 h 168"/>
                  <a:gd name="T28" fmla="*/ 16 w 208"/>
                  <a:gd name="T29" fmla="*/ 40 h 168"/>
                  <a:gd name="T30" fmla="*/ 16 w 208"/>
                  <a:gd name="T31" fmla="*/ 16 h 168"/>
                  <a:gd name="T32" fmla="*/ 99 w 208"/>
                  <a:gd name="T33" fmla="*/ 16 h 168"/>
                  <a:gd name="T34" fmla="*/ 99 w 208"/>
                  <a:gd name="T35" fmla="*/ 40 h 168"/>
                  <a:gd name="T36" fmla="*/ 87 w 208"/>
                  <a:gd name="T37" fmla="*/ 92 h 168"/>
                  <a:gd name="T38" fmla="*/ 48 w 208"/>
                  <a:gd name="T39" fmla="*/ 72 h 168"/>
                  <a:gd name="T40" fmla="*/ 0 w 208"/>
                  <a:gd name="T41" fmla="*/ 120 h 168"/>
                  <a:gd name="T42" fmla="*/ 48 w 208"/>
                  <a:gd name="T43" fmla="*/ 168 h 168"/>
                  <a:gd name="T44" fmla="*/ 87 w 208"/>
                  <a:gd name="T45" fmla="*/ 148 h 168"/>
                  <a:gd name="T46" fmla="*/ 208 w 208"/>
                  <a:gd name="T47" fmla="*/ 148 h 168"/>
                  <a:gd name="T48" fmla="*/ 208 w 208"/>
                  <a:gd name="T49" fmla="*/ 92 h 168"/>
                  <a:gd name="T50" fmla="*/ 87 w 208"/>
                  <a:gd name="T51" fmla="*/ 92 h 168"/>
                  <a:gd name="T52" fmla="*/ 192 w 208"/>
                  <a:gd name="T53" fmla="*/ 132 h 168"/>
                  <a:gd name="T54" fmla="*/ 78 w 208"/>
                  <a:gd name="T55" fmla="*/ 132 h 168"/>
                  <a:gd name="T56" fmla="*/ 48 w 208"/>
                  <a:gd name="T57" fmla="*/ 152 h 168"/>
                  <a:gd name="T58" fmla="*/ 20 w 208"/>
                  <a:gd name="T59" fmla="*/ 136 h 168"/>
                  <a:gd name="T60" fmla="*/ 48 w 208"/>
                  <a:gd name="T61" fmla="*/ 136 h 168"/>
                  <a:gd name="T62" fmla="*/ 48 w 208"/>
                  <a:gd name="T63" fmla="*/ 104 h 168"/>
                  <a:gd name="T64" fmla="*/ 20 w 208"/>
                  <a:gd name="T65" fmla="*/ 104 h 168"/>
                  <a:gd name="T66" fmla="*/ 48 w 208"/>
                  <a:gd name="T67" fmla="*/ 88 h 168"/>
                  <a:gd name="T68" fmla="*/ 78 w 208"/>
                  <a:gd name="T69" fmla="*/ 108 h 168"/>
                  <a:gd name="T70" fmla="*/ 192 w 208"/>
                  <a:gd name="T71" fmla="*/ 108 h 168"/>
                  <a:gd name="T72" fmla="*/ 192 w 208"/>
                  <a:gd name="T73" fmla="*/ 13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8" h="168">
                    <a:moveTo>
                      <a:pt x="180" y="12"/>
                    </a:moveTo>
                    <a:cubicBezTo>
                      <a:pt x="168" y="20"/>
                      <a:pt x="168" y="20"/>
                      <a:pt x="168" y="20"/>
                    </a:cubicBezTo>
                    <a:cubicBezTo>
                      <a:pt x="115" y="20"/>
                      <a:pt x="115" y="20"/>
                      <a:pt x="115" y="20"/>
                    </a:cubicBezTo>
                    <a:cubicBezTo>
                      <a:pt x="115" y="0"/>
                      <a:pt x="115" y="0"/>
                      <a:pt x="115" y="0"/>
                    </a:cubicBezTo>
                    <a:cubicBezTo>
                      <a:pt x="0" y="0"/>
                      <a:pt x="0" y="0"/>
                      <a:pt x="0" y="0"/>
                    </a:cubicBezTo>
                    <a:cubicBezTo>
                      <a:pt x="0" y="56"/>
                      <a:pt x="0" y="56"/>
                      <a:pt x="0" y="56"/>
                    </a:cubicBezTo>
                    <a:cubicBezTo>
                      <a:pt x="115" y="56"/>
                      <a:pt x="115" y="56"/>
                      <a:pt x="115" y="56"/>
                    </a:cubicBezTo>
                    <a:cubicBezTo>
                      <a:pt x="115" y="36"/>
                      <a:pt x="115" y="36"/>
                      <a:pt x="115" y="36"/>
                    </a:cubicBezTo>
                    <a:cubicBezTo>
                      <a:pt x="168" y="36"/>
                      <a:pt x="168" y="36"/>
                      <a:pt x="168" y="36"/>
                    </a:cubicBezTo>
                    <a:cubicBezTo>
                      <a:pt x="180" y="44"/>
                      <a:pt x="180" y="44"/>
                      <a:pt x="180" y="44"/>
                    </a:cubicBezTo>
                    <a:cubicBezTo>
                      <a:pt x="208" y="36"/>
                      <a:pt x="208" y="36"/>
                      <a:pt x="208" y="36"/>
                    </a:cubicBezTo>
                    <a:cubicBezTo>
                      <a:pt x="208" y="20"/>
                      <a:pt x="208" y="20"/>
                      <a:pt x="208" y="20"/>
                    </a:cubicBezTo>
                    <a:lnTo>
                      <a:pt x="180" y="12"/>
                    </a:lnTo>
                    <a:close/>
                    <a:moveTo>
                      <a:pt x="99" y="40"/>
                    </a:moveTo>
                    <a:cubicBezTo>
                      <a:pt x="16" y="40"/>
                      <a:pt x="16" y="40"/>
                      <a:pt x="16" y="40"/>
                    </a:cubicBezTo>
                    <a:cubicBezTo>
                      <a:pt x="16" y="16"/>
                      <a:pt x="16" y="16"/>
                      <a:pt x="16" y="16"/>
                    </a:cubicBezTo>
                    <a:cubicBezTo>
                      <a:pt x="99" y="16"/>
                      <a:pt x="99" y="16"/>
                      <a:pt x="99" y="16"/>
                    </a:cubicBezTo>
                    <a:lnTo>
                      <a:pt x="99" y="40"/>
                    </a:lnTo>
                    <a:close/>
                    <a:moveTo>
                      <a:pt x="87" y="92"/>
                    </a:moveTo>
                    <a:cubicBezTo>
                      <a:pt x="78" y="80"/>
                      <a:pt x="64" y="72"/>
                      <a:pt x="48" y="72"/>
                    </a:cubicBezTo>
                    <a:cubicBezTo>
                      <a:pt x="21" y="72"/>
                      <a:pt x="0" y="93"/>
                      <a:pt x="0" y="120"/>
                    </a:cubicBezTo>
                    <a:cubicBezTo>
                      <a:pt x="0" y="147"/>
                      <a:pt x="21" y="168"/>
                      <a:pt x="48" y="168"/>
                    </a:cubicBezTo>
                    <a:cubicBezTo>
                      <a:pt x="64" y="168"/>
                      <a:pt x="78" y="160"/>
                      <a:pt x="87" y="148"/>
                    </a:cubicBezTo>
                    <a:cubicBezTo>
                      <a:pt x="208" y="148"/>
                      <a:pt x="208" y="148"/>
                      <a:pt x="208" y="148"/>
                    </a:cubicBezTo>
                    <a:cubicBezTo>
                      <a:pt x="208" y="92"/>
                      <a:pt x="208" y="92"/>
                      <a:pt x="208" y="92"/>
                    </a:cubicBezTo>
                    <a:lnTo>
                      <a:pt x="87" y="92"/>
                    </a:lnTo>
                    <a:close/>
                    <a:moveTo>
                      <a:pt x="192" y="132"/>
                    </a:moveTo>
                    <a:cubicBezTo>
                      <a:pt x="78" y="132"/>
                      <a:pt x="78" y="132"/>
                      <a:pt x="78" y="132"/>
                    </a:cubicBezTo>
                    <a:cubicBezTo>
                      <a:pt x="73" y="144"/>
                      <a:pt x="61" y="152"/>
                      <a:pt x="48" y="152"/>
                    </a:cubicBezTo>
                    <a:cubicBezTo>
                      <a:pt x="36" y="152"/>
                      <a:pt x="26" y="146"/>
                      <a:pt x="20" y="136"/>
                    </a:cubicBezTo>
                    <a:cubicBezTo>
                      <a:pt x="48" y="136"/>
                      <a:pt x="48" y="136"/>
                      <a:pt x="48" y="136"/>
                    </a:cubicBezTo>
                    <a:cubicBezTo>
                      <a:pt x="48" y="104"/>
                      <a:pt x="48" y="104"/>
                      <a:pt x="48" y="104"/>
                    </a:cubicBezTo>
                    <a:cubicBezTo>
                      <a:pt x="20" y="104"/>
                      <a:pt x="20" y="104"/>
                      <a:pt x="20" y="104"/>
                    </a:cubicBezTo>
                    <a:cubicBezTo>
                      <a:pt x="26" y="94"/>
                      <a:pt x="36" y="88"/>
                      <a:pt x="48" y="88"/>
                    </a:cubicBezTo>
                    <a:cubicBezTo>
                      <a:pt x="61" y="88"/>
                      <a:pt x="73" y="96"/>
                      <a:pt x="78" y="108"/>
                    </a:cubicBezTo>
                    <a:cubicBezTo>
                      <a:pt x="192" y="108"/>
                      <a:pt x="192" y="108"/>
                      <a:pt x="192" y="108"/>
                    </a:cubicBezTo>
                    <a:lnTo>
                      <a:pt x="192" y="132"/>
                    </a:lnTo>
                    <a:close/>
                  </a:path>
                </a:pathLst>
              </a:custGeom>
              <a:solidFill>
                <a:srgbClr val="FFFFFF"/>
              </a:solidFill>
              <a:ln>
                <a:noFill/>
              </a:ln>
            </p:spPr>
            <p:txBody>
              <a:bodyPr vert="horz" wrap="square" lIns="0" tIns="61200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a:ln>
                    <a:noFill/>
                  </a:ln>
                  <a:solidFill>
                    <a:srgbClr val="FFFFFF"/>
                  </a:solidFill>
                  <a:effectLst/>
                  <a:uLnTx/>
                  <a:uFillTx/>
                  <a:latin typeface="Arial"/>
                  <a:ea typeface="+mn-ea"/>
                  <a:cs typeface="+mn-cs"/>
                </a:endParaRPr>
              </a:p>
            </p:txBody>
          </p:sp>
          <p:sp>
            <p:nvSpPr>
              <p:cNvPr id="19" name="Freeform: Shape 18">
                <a:extLst>
                  <a:ext uri="{FF2B5EF4-FFF2-40B4-BE49-F238E27FC236}">
                    <a16:creationId xmlns:a16="http://schemas.microsoft.com/office/drawing/2014/main" id="{4AB5A7AD-16D6-42C3-9425-A8CB72042312}"/>
                  </a:ext>
                </a:extLst>
              </p:cNvPr>
              <p:cNvSpPr/>
              <p:nvPr/>
            </p:nvSpPr>
            <p:spPr>
              <a:xfrm>
                <a:off x="5725027" y="5040851"/>
                <a:ext cx="299661" cy="387367"/>
              </a:xfrm>
              <a:custGeom>
                <a:avLst/>
                <a:gdLst>
                  <a:gd name="connsiteX0" fmla="*/ 197644 w 390525"/>
                  <a:gd name="connsiteY0" fmla="*/ 7144 h 504825"/>
                  <a:gd name="connsiteX1" fmla="*/ 7144 w 390525"/>
                  <a:gd name="connsiteY1" fmla="*/ 197644 h 504825"/>
                  <a:gd name="connsiteX2" fmla="*/ 28956 w 390525"/>
                  <a:gd name="connsiteY2" fmla="*/ 286226 h 504825"/>
                  <a:gd name="connsiteX3" fmla="*/ 197549 w 390525"/>
                  <a:gd name="connsiteY3" fmla="*/ 502444 h 504825"/>
                  <a:gd name="connsiteX4" fmla="*/ 366236 w 390525"/>
                  <a:gd name="connsiteY4" fmla="*/ 286131 h 504825"/>
                  <a:gd name="connsiteX5" fmla="*/ 388049 w 390525"/>
                  <a:gd name="connsiteY5" fmla="*/ 197644 h 504825"/>
                  <a:gd name="connsiteX6" fmla="*/ 197644 w 390525"/>
                  <a:gd name="connsiteY6" fmla="*/ 7144 h 504825"/>
                  <a:gd name="connsiteX7" fmla="*/ 332613 w 390525"/>
                  <a:gd name="connsiteY7" fmla="*/ 268415 h 504825"/>
                  <a:gd name="connsiteX8" fmla="*/ 197644 w 390525"/>
                  <a:gd name="connsiteY8" fmla="*/ 444151 h 504825"/>
                  <a:gd name="connsiteX9" fmla="*/ 62770 w 390525"/>
                  <a:gd name="connsiteY9" fmla="*/ 268510 h 504825"/>
                  <a:gd name="connsiteX10" fmla="*/ 45339 w 390525"/>
                  <a:gd name="connsiteY10" fmla="*/ 197644 h 504825"/>
                  <a:gd name="connsiteX11" fmla="*/ 197739 w 390525"/>
                  <a:gd name="connsiteY11" fmla="*/ 45244 h 504825"/>
                  <a:gd name="connsiteX12" fmla="*/ 350139 w 390525"/>
                  <a:gd name="connsiteY12" fmla="*/ 197644 h 504825"/>
                  <a:gd name="connsiteX13" fmla="*/ 332613 w 390525"/>
                  <a:gd name="connsiteY13" fmla="*/ 268415 h 504825"/>
                  <a:gd name="connsiteX14" fmla="*/ 197644 w 390525"/>
                  <a:gd name="connsiteY14" fmla="*/ 101918 h 504825"/>
                  <a:gd name="connsiteX15" fmla="*/ 102870 w 390525"/>
                  <a:gd name="connsiteY15" fmla="*/ 196691 h 504825"/>
                  <a:gd name="connsiteX16" fmla="*/ 197644 w 390525"/>
                  <a:gd name="connsiteY16" fmla="*/ 291465 h 504825"/>
                  <a:gd name="connsiteX17" fmla="*/ 292417 w 390525"/>
                  <a:gd name="connsiteY17" fmla="*/ 196691 h 504825"/>
                  <a:gd name="connsiteX18" fmla="*/ 197644 w 390525"/>
                  <a:gd name="connsiteY18" fmla="*/ 101918 h 504825"/>
                  <a:gd name="connsiteX19" fmla="*/ 197644 w 390525"/>
                  <a:gd name="connsiteY19" fmla="*/ 253365 h 504825"/>
                  <a:gd name="connsiteX20" fmla="*/ 140970 w 390525"/>
                  <a:gd name="connsiteY20" fmla="*/ 196691 h 504825"/>
                  <a:gd name="connsiteX21" fmla="*/ 197644 w 390525"/>
                  <a:gd name="connsiteY21" fmla="*/ 140018 h 504825"/>
                  <a:gd name="connsiteX22" fmla="*/ 254317 w 390525"/>
                  <a:gd name="connsiteY22" fmla="*/ 196691 h 504825"/>
                  <a:gd name="connsiteX23" fmla="*/ 197644 w 390525"/>
                  <a:gd name="connsiteY23" fmla="*/ 253365 h 5048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0525" h="504825">
                    <a:moveTo>
                      <a:pt x="197644" y="7144"/>
                    </a:moveTo>
                    <a:cubicBezTo>
                      <a:pt x="92488" y="7144"/>
                      <a:pt x="7144" y="92393"/>
                      <a:pt x="7144" y="197644"/>
                    </a:cubicBezTo>
                    <a:cubicBezTo>
                      <a:pt x="7144" y="229648"/>
                      <a:pt x="15050" y="259842"/>
                      <a:pt x="28956" y="286226"/>
                    </a:cubicBezTo>
                    <a:cubicBezTo>
                      <a:pt x="60865" y="346805"/>
                      <a:pt x="197549" y="502444"/>
                      <a:pt x="197549" y="502444"/>
                    </a:cubicBezTo>
                    <a:cubicBezTo>
                      <a:pt x="197549" y="502444"/>
                      <a:pt x="334423" y="346710"/>
                      <a:pt x="366236" y="286131"/>
                    </a:cubicBezTo>
                    <a:cubicBezTo>
                      <a:pt x="380143" y="259652"/>
                      <a:pt x="388049" y="229553"/>
                      <a:pt x="388049" y="197644"/>
                    </a:cubicBezTo>
                    <a:cubicBezTo>
                      <a:pt x="388049" y="92393"/>
                      <a:pt x="302800" y="7144"/>
                      <a:pt x="197644" y="7144"/>
                    </a:cubicBezTo>
                    <a:close/>
                    <a:moveTo>
                      <a:pt x="332613" y="268415"/>
                    </a:moveTo>
                    <a:cubicBezTo>
                      <a:pt x="313087" y="305657"/>
                      <a:pt x="243554" y="390239"/>
                      <a:pt x="197644" y="444151"/>
                    </a:cubicBezTo>
                    <a:cubicBezTo>
                      <a:pt x="151733" y="390239"/>
                      <a:pt x="82296" y="305657"/>
                      <a:pt x="62770" y="268510"/>
                    </a:cubicBezTo>
                    <a:cubicBezTo>
                      <a:pt x="51149" y="246507"/>
                      <a:pt x="45339" y="222694"/>
                      <a:pt x="45339" y="197644"/>
                    </a:cubicBezTo>
                    <a:cubicBezTo>
                      <a:pt x="45339" y="113633"/>
                      <a:pt x="113729" y="45244"/>
                      <a:pt x="197739" y="45244"/>
                    </a:cubicBezTo>
                    <a:cubicBezTo>
                      <a:pt x="281750" y="45244"/>
                      <a:pt x="350139" y="113633"/>
                      <a:pt x="350139" y="197644"/>
                    </a:cubicBezTo>
                    <a:cubicBezTo>
                      <a:pt x="349949" y="222599"/>
                      <a:pt x="344138" y="246412"/>
                      <a:pt x="332613" y="268415"/>
                    </a:cubicBezTo>
                    <a:close/>
                    <a:moveTo>
                      <a:pt x="197644" y="101918"/>
                    </a:moveTo>
                    <a:cubicBezTo>
                      <a:pt x="145256" y="101918"/>
                      <a:pt x="102870" y="144304"/>
                      <a:pt x="102870" y="196691"/>
                    </a:cubicBezTo>
                    <a:cubicBezTo>
                      <a:pt x="102870" y="249079"/>
                      <a:pt x="145256" y="291465"/>
                      <a:pt x="197644" y="291465"/>
                    </a:cubicBezTo>
                    <a:cubicBezTo>
                      <a:pt x="250031" y="291465"/>
                      <a:pt x="292417" y="249079"/>
                      <a:pt x="292417" y="196691"/>
                    </a:cubicBezTo>
                    <a:cubicBezTo>
                      <a:pt x="292417" y="144399"/>
                      <a:pt x="249936" y="101918"/>
                      <a:pt x="197644" y="101918"/>
                    </a:cubicBezTo>
                    <a:close/>
                    <a:moveTo>
                      <a:pt x="197644" y="253365"/>
                    </a:moveTo>
                    <a:cubicBezTo>
                      <a:pt x="166402" y="253365"/>
                      <a:pt x="140970" y="227933"/>
                      <a:pt x="140970" y="196691"/>
                    </a:cubicBezTo>
                    <a:cubicBezTo>
                      <a:pt x="140970" y="165449"/>
                      <a:pt x="166402" y="140018"/>
                      <a:pt x="197644" y="140018"/>
                    </a:cubicBezTo>
                    <a:cubicBezTo>
                      <a:pt x="228886" y="140018"/>
                      <a:pt x="254317" y="165449"/>
                      <a:pt x="254317" y="196691"/>
                    </a:cubicBezTo>
                    <a:cubicBezTo>
                      <a:pt x="254317" y="227933"/>
                      <a:pt x="228886" y="253365"/>
                      <a:pt x="197644" y="253365"/>
                    </a:cubicBezTo>
                    <a:close/>
                  </a:path>
                </a:pathLst>
              </a:custGeom>
              <a:solidFill>
                <a:schemeClr val="bg1"/>
              </a:solidFill>
              <a:ln w="9525" cap="flat">
                <a:noFill/>
                <a:prstDash val="solid"/>
                <a:miter/>
              </a:ln>
            </p:spPr>
            <p:txBody>
              <a:bodyPr wrap="square" lIns="0" tIns="612000" rIns="0" bIns="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0" name="Freeform 504">
                <a:extLst>
                  <a:ext uri="{FF2B5EF4-FFF2-40B4-BE49-F238E27FC236}">
                    <a16:creationId xmlns:a16="http://schemas.microsoft.com/office/drawing/2014/main" id="{CAEFFFCF-2B25-4FF2-AB30-6461FE23A73B}"/>
                  </a:ext>
                </a:extLst>
              </p:cNvPr>
              <p:cNvSpPr>
                <a:spLocks noEditPoints="1"/>
              </p:cNvSpPr>
              <p:nvPr/>
            </p:nvSpPr>
            <p:spPr bwMode="auto">
              <a:xfrm>
                <a:off x="4672073" y="3165116"/>
                <a:ext cx="436966" cy="368548"/>
              </a:xfrm>
              <a:custGeom>
                <a:avLst/>
                <a:gdLst>
                  <a:gd name="T0" fmla="*/ 208 w 256"/>
                  <a:gd name="T1" fmla="*/ 24 h 196"/>
                  <a:gd name="T2" fmla="*/ 137 w 256"/>
                  <a:gd name="T3" fmla="*/ 24 h 196"/>
                  <a:gd name="T4" fmla="*/ 137 w 256"/>
                  <a:gd name="T5" fmla="*/ 0 h 196"/>
                  <a:gd name="T6" fmla="*/ 121 w 256"/>
                  <a:gd name="T7" fmla="*/ 0 h 196"/>
                  <a:gd name="T8" fmla="*/ 121 w 256"/>
                  <a:gd name="T9" fmla="*/ 24 h 196"/>
                  <a:gd name="T10" fmla="*/ 48 w 256"/>
                  <a:gd name="T11" fmla="*/ 24 h 196"/>
                  <a:gd name="T12" fmla="*/ 0 w 256"/>
                  <a:gd name="T13" fmla="*/ 96 h 196"/>
                  <a:gd name="T14" fmla="*/ 48 w 256"/>
                  <a:gd name="T15" fmla="*/ 144 h 196"/>
                  <a:gd name="T16" fmla="*/ 96 w 256"/>
                  <a:gd name="T17" fmla="*/ 96 h 196"/>
                  <a:gd name="T18" fmla="*/ 59 w 256"/>
                  <a:gd name="T19" fmla="*/ 40 h 196"/>
                  <a:gd name="T20" fmla="*/ 121 w 256"/>
                  <a:gd name="T21" fmla="*/ 40 h 196"/>
                  <a:gd name="T22" fmla="*/ 121 w 256"/>
                  <a:gd name="T23" fmla="*/ 180 h 196"/>
                  <a:gd name="T24" fmla="*/ 48 w 256"/>
                  <a:gd name="T25" fmla="*/ 180 h 196"/>
                  <a:gd name="T26" fmla="*/ 48 w 256"/>
                  <a:gd name="T27" fmla="*/ 196 h 196"/>
                  <a:gd name="T28" fmla="*/ 208 w 256"/>
                  <a:gd name="T29" fmla="*/ 196 h 196"/>
                  <a:gd name="T30" fmla="*/ 208 w 256"/>
                  <a:gd name="T31" fmla="*/ 180 h 196"/>
                  <a:gd name="T32" fmla="*/ 137 w 256"/>
                  <a:gd name="T33" fmla="*/ 180 h 196"/>
                  <a:gd name="T34" fmla="*/ 137 w 256"/>
                  <a:gd name="T35" fmla="*/ 40 h 196"/>
                  <a:gd name="T36" fmla="*/ 197 w 256"/>
                  <a:gd name="T37" fmla="*/ 40 h 196"/>
                  <a:gd name="T38" fmla="*/ 160 w 256"/>
                  <a:gd name="T39" fmla="*/ 96 h 196"/>
                  <a:gd name="T40" fmla="*/ 208 w 256"/>
                  <a:gd name="T41" fmla="*/ 144 h 196"/>
                  <a:gd name="T42" fmla="*/ 256 w 256"/>
                  <a:gd name="T43" fmla="*/ 96 h 196"/>
                  <a:gd name="T44" fmla="*/ 208 w 256"/>
                  <a:gd name="T45" fmla="*/ 24 h 196"/>
                  <a:gd name="T46" fmla="*/ 48 w 256"/>
                  <a:gd name="T47" fmla="*/ 53 h 196"/>
                  <a:gd name="T48" fmla="*/ 77 w 256"/>
                  <a:gd name="T49" fmla="*/ 96 h 196"/>
                  <a:gd name="T50" fmla="*/ 19 w 256"/>
                  <a:gd name="T51" fmla="*/ 96 h 196"/>
                  <a:gd name="T52" fmla="*/ 48 w 256"/>
                  <a:gd name="T53" fmla="*/ 53 h 196"/>
                  <a:gd name="T54" fmla="*/ 48 w 256"/>
                  <a:gd name="T55" fmla="*/ 128 h 196"/>
                  <a:gd name="T56" fmla="*/ 20 w 256"/>
                  <a:gd name="T57" fmla="*/ 112 h 196"/>
                  <a:gd name="T58" fmla="*/ 76 w 256"/>
                  <a:gd name="T59" fmla="*/ 112 h 196"/>
                  <a:gd name="T60" fmla="*/ 48 w 256"/>
                  <a:gd name="T61" fmla="*/ 128 h 196"/>
                  <a:gd name="T62" fmla="*/ 237 w 256"/>
                  <a:gd name="T63" fmla="*/ 96 h 196"/>
                  <a:gd name="T64" fmla="*/ 179 w 256"/>
                  <a:gd name="T65" fmla="*/ 96 h 196"/>
                  <a:gd name="T66" fmla="*/ 208 w 256"/>
                  <a:gd name="T67" fmla="*/ 53 h 196"/>
                  <a:gd name="T68" fmla="*/ 237 w 256"/>
                  <a:gd name="T69" fmla="*/ 96 h 196"/>
                  <a:gd name="T70" fmla="*/ 208 w 256"/>
                  <a:gd name="T71" fmla="*/ 128 h 196"/>
                  <a:gd name="T72" fmla="*/ 180 w 256"/>
                  <a:gd name="T73" fmla="*/ 112 h 196"/>
                  <a:gd name="T74" fmla="*/ 236 w 256"/>
                  <a:gd name="T75" fmla="*/ 112 h 196"/>
                  <a:gd name="T76" fmla="*/ 208 w 256"/>
                  <a:gd name="T77" fmla="*/ 128 h 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56" h="196">
                    <a:moveTo>
                      <a:pt x="208" y="24"/>
                    </a:moveTo>
                    <a:cubicBezTo>
                      <a:pt x="137" y="24"/>
                      <a:pt x="137" y="24"/>
                      <a:pt x="137" y="24"/>
                    </a:cubicBezTo>
                    <a:cubicBezTo>
                      <a:pt x="137" y="0"/>
                      <a:pt x="137" y="0"/>
                      <a:pt x="137" y="0"/>
                    </a:cubicBezTo>
                    <a:cubicBezTo>
                      <a:pt x="121" y="0"/>
                      <a:pt x="121" y="0"/>
                      <a:pt x="121" y="0"/>
                    </a:cubicBezTo>
                    <a:cubicBezTo>
                      <a:pt x="121" y="24"/>
                      <a:pt x="121" y="24"/>
                      <a:pt x="121" y="24"/>
                    </a:cubicBezTo>
                    <a:cubicBezTo>
                      <a:pt x="48" y="24"/>
                      <a:pt x="48" y="24"/>
                      <a:pt x="48" y="24"/>
                    </a:cubicBezTo>
                    <a:cubicBezTo>
                      <a:pt x="0" y="96"/>
                      <a:pt x="0" y="96"/>
                      <a:pt x="0" y="96"/>
                    </a:cubicBezTo>
                    <a:cubicBezTo>
                      <a:pt x="0" y="123"/>
                      <a:pt x="21" y="144"/>
                      <a:pt x="48" y="144"/>
                    </a:cubicBezTo>
                    <a:cubicBezTo>
                      <a:pt x="75" y="144"/>
                      <a:pt x="96" y="123"/>
                      <a:pt x="96" y="96"/>
                    </a:cubicBezTo>
                    <a:cubicBezTo>
                      <a:pt x="59" y="40"/>
                      <a:pt x="59" y="40"/>
                      <a:pt x="59" y="40"/>
                    </a:cubicBezTo>
                    <a:cubicBezTo>
                      <a:pt x="121" y="40"/>
                      <a:pt x="121" y="40"/>
                      <a:pt x="121" y="40"/>
                    </a:cubicBezTo>
                    <a:cubicBezTo>
                      <a:pt x="121" y="180"/>
                      <a:pt x="121" y="180"/>
                      <a:pt x="121" y="180"/>
                    </a:cubicBezTo>
                    <a:cubicBezTo>
                      <a:pt x="48" y="180"/>
                      <a:pt x="48" y="180"/>
                      <a:pt x="48" y="180"/>
                    </a:cubicBezTo>
                    <a:cubicBezTo>
                      <a:pt x="48" y="196"/>
                      <a:pt x="48" y="196"/>
                      <a:pt x="48" y="196"/>
                    </a:cubicBezTo>
                    <a:cubicBezTo>
                      <a:pt x="208" y="196"/>
                      <a:pt x="208" y="196"/>
                      <a:pt x="208" y="196"/>
                    </a:cubicBezTo>
                    <a:cubicBezTo>
                      <a:pt x="208" y="180"/>
                      <a:pt x="208" y="180"/>
                      <a:pt x="208" y="180"/>
                    </a:cubicBezTo>
                    <a:cubicBezTo>
                      <a:pt x="137" y="180"/>
                      <a:pt x="137" y="180"/>
                      <a:pt x="137" y="180"/>
                    </a:cubicBezTo>
                    <a:cubicBezTo>
                      <a:pt x="137" y="40"/>
                      <a:pt x="137" y="40"/>
                      <a:pt x="137" y="40"/>
                    </a:cubicBezTo>
                    <a:cubicBezTo>
                      <a:pt x="197" y="40"/>
                      <a:pt x="197" y="40"/>
                      <a:pt x="197" y="40"/>
                    </a:cubicBezTo>
                    <a:cubicBezTo>
                      <a:pt x="160" y="96"/>
                      <a:pt x="160" y="96"/>
                      <a:pt x="160" y="96"/>
                    </a:cubicBezTo>
                    <a:cubicBezTo>
                      <a:pt x="160" y="123"/>
                      <a:pt x="181" y="144"/>
                      <a:pt x="208" y="144"/>
                    </a:cubicBezTo>
                    <a:cubicBezTo>
                      <a:pt x="235" y="144"/>
                      <a:pt x="256" y="123"/>
                      <a:pt x="256" y="96"/>
                    </a:cubicBezTo>
                    <a:lnTo>
                      <a:pt x="208" y="24"/>
                    </a:lnTo>
                    <a:close/>
                    <a:moveTo>
                      <a:pt x="48" y="53"/>
                    </a:moveTo>
                    <a:cubicBezTo>
                      <a:pt x="77" y="96"/>
                      <a:pt x="77" y="96"/>
                      <a:pt x="77" y="96"/>
                    </a:cubicBezTo>
                    <a:cubicBezTo>
                      <a:pt x="19" y="96"/>
                      <a:pt x="19" y="96"/>
                      <a:pt x="19" y="96"/>
                    </a:cubicBezTo>
                    <a:lnTo>
                      <a:pt x="48" y="53"/>
                    </a:lnTo>
                    <a:close/>
                    <a:moveTo>
                      <a:pt x="48" y="128"/>
                    </a:moveTo>
                    <a:cubicBezTo>
                      <a:pt x="36" y="128"/>
                      <a:pt x="26" y="122"/>
                      <a:pt x="20" y="112"/>
                    </a:cubicBezTo>
                    <a:cubicBezTo>
                      <a:pt x="76" y="112"/>
                      <a:pt x="76" y="112"/>
                      <a:pt x="76" y="112"/>
                    </a:cubicBezTo>
                    <a:cubicBezTo>
                      <a:pt x="70" y="122"/>
                      <a:pt x="60" y="128"/>
                      <a:pt x="48" y="128"/>
                    </a:cubicBezTo>
                    <a:moveTo>
                      <a:pt x="237" y="96"/>
                    </a:moveTo>
                    <a:cubicBezTo>
                      <a:pt x="179" y="96"/>
                      <a:pt x="179" y="96"/>
                      <a:pt x="179" y="96"/>
                    </a:cubicBezTo>
                    <a:cubicBezTo>
                      <a:pt x="208" y="53"/>
                      <a:pt x="208" y="53"/>
                      <a:pt x="208" y="53"/>
                    </a:cubicBezTo>
                    <a:lnTo>
                      <a:pt x="237" y="96"/>
                    </a:lnTo>
                    <a:close/>
                    <a:moveTo>
                      <a:pt x="208" y="128"/>
                    </a:moveTo>
                    <a:cubicBezTo>
                      <a:pt x="196" y="128"/>
                      <a:pt x="186" y="122"/>
                      <a:pt x="180" y="112"/>
                    </a:cubicBezTo>
                    <a:cubicBezTo>
                      <a:pt x="236" y="112"/>
                      <a:pt x="236" y="112"/>
                      <a:pt x="236" y="112"/>
                    </a:cubicBezTo>
                    <a:cubicBezTo>
                      <a:pt x="230" y="122"/>
                      <a:pt x="220" y="128"/>
                      <a:pt x="208" y="128"/>
                    </a:cubicBezTo>
                  </a:path>
                </a:pathLst>
              </a:custGeom>
              <a:solidFill>
                <a:schemeClr val="bg1"/>
              </a:solidFill>
              <a:ln>
                <a:noFill/>
              </a:ln>
            </p:spPr>
            <p:txBody>
              <a:bodyPr vert="horz" wrap="square" lIns="0" tIns="61200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1" name="Freeform 423">
                <a:extLst>
                  <a:ext uri="{FF2B5EF4-FFF2-40B4-BE49-F238E27FC236}">
                    <a16:creationId xmlns:a16="http://schemas.microsoft.com/office/drawing/2014/main" id="{FFCA2EA3-BA91-495F-A882-B5E17B791841}"/>
                  </a:ext>
                </a:extLst>
              </p:cNvPr>
              <p:cNvSpPr>
                <a:spLocks noEditPoints="1"/>
              </p:cNvSpPr>
              <p:nvPr/>
            </p:nvSpPr>
            <p:spPr bwMode="auto">
              <a:xfrm>
                <a:off x="5673474" y="3883093"/>
                <a:ext cx="435340" cy="304143"/>
              </a:xfrm>
              <a:custGeom>
                <a:avLst/>
                <a:gdLst>
                  <a:gd name="T0" fmla="*/ 212 w 232"/>
                  <a:gd name="T1" fmla="*/ 28 h 162"/>
                  <a:gd name="T2" fmla="*/ 232 w 232"/>
                  <a:gd name="T3" fmla="*/ 28 h 162"/>
                  <a:gd name="T4" fmla="*/ 232 w 232"/>
                  <a:gd name="T5" fmla="*/ 12 h 162"/>
                  <a:gd name="T6" fmla="*/ 196 w 232"/>
                  <a:gd name="T7" fmla="*/ 12 h 162"/>
                  <a:gd name="T8" fmla="*/ 196 w 232"/>
                  <a:gd name="T9" fmla="*/ 24 h 162"/>
                  <a:gd name="T10" fmla="*/ 158 w 232"/>
                  <a:gd name="T11" fmla="*/ 8 h 162"/>
                  <a:gd name="T12" fmla="*/ 120 w 232"/>
                  <a:gd name="T13" fmla="*/ 8 h 162"/>
                  <a:gd name="T14" fmla="*/ 101 w 232"/>
                  <a:gd name="T15" fmla="*/ 16 h 162"/>
                  <a:gd name="T16" fmla="*/ 36 w 232"/>
                  <a:gd name="T17" fmla="*/ 16 h 162"/>
                  <a:gd name="T18" fmla="*/ 36 w 232"/>
                  <a:gd name="T19" fmla="*/ 0 h 162"/>
                  <a:gd name="T20" fmla="*/ 0 w 232"/>
                  <a:gd name="T21" fmla="*/ 0 h 162"/>
                  <a:gd name="T22" fmla="*/ 0 w 232"/>
                  <a:gd name="T23" fmla="*/ 16 h 162"/>
                  <a:gd name="T24" fmla="*/ 20 w 232"/>
                  <a:gd name="T25" fmla="*/ 16 h 162"/>
                  <a:gd name="T26" fmla="*/ 20 w 232"/>
                  <a:gd name="T27" fmla="*/ 108 h 162"/>
                  <a:gd name="T28" fmla="*/ 0 w 232"/>
                  <a:gd name="T29" fmla="*/ 108 h 162"/>
                  <a:gd name="T30" fmla="*/ 0 w 232"/>
                  <a:gd name="T31" fmla="*/ 124 h 162"/>
                  <a:gd name="T32" fmla="*/ 36 w 232"/>
                  <a:gd name="T33" fmla="*/ 124 h 162"/>
                  <a:gd name="T34" fmla="*/ 36 w 232"/>
                  <a:gd name="T35" fmla="*/ 112 h 162"/>
                  <a:gd name="T36" fmla="*/ 44 w 232"/>
                  <a:gd name="T37" fmla="*/ 112 h 162"/>
                  <a:gd name="T38" fmla="*/ 65 w 232"/>
                  <a:gd name="T39" fmla="*/ 146 h 162"/>
                  <a:gd name="T40" fmla="*/ 79 w 232"/>
                  <a:gd name="T41" fmla="*/ 158 h 162"/>
                  <a:gd name="T42" fmla="*/ 94 w 232"/>
                  <a:gd name="T43" fmla="*/ 162 h 162"/>
                  <a:gd name="T44" fmla="*/ 104 w 232"/>
                  <a:gd name="T45" fmla="*/ 161 h 162"/>
                  <a:gd name="T46" fmla="*/ 157 w 232"/>
                  <a:gd name="T47" fmla="*/ 145 h 162"/>
                  <a:gd name="T48" fmla="*/ 185 w 232"/>
                  <a:gd name="T49" fmla="*/ 124 h 162"/>
                  <a:gd name="T50" fmla="*/ 196 w 232"/>
                  <a:gd name="T51" fmla="*/ 124 h 162"/>
                  <a:gd name="T52" fmla="*/ 196 w 232"/>
                  <a:gd name="T53" fmla="*/ 136 h 162"/>
                  <a:gd name="T54" fmla="*/ 232 w 232"/>
                  <a:gd name="T55" fmla="*/ 136 h 162"/>
                  <a:gd name="T56" fmla="*/ 232 w 232"/>
                  <a:gd name="T57" fmla="*/ 120 h 162"/>
                  <a:gd name="T58" fmla="*/ 212 w 232"/>
                  <a:gd name="T59" fmla="*/ 120 h 162"/>
                  <a:gd name="T60" fmla="*/ 212 w 232"/>
                  <a:gd name="T61" fmla="*/ 31 h 162"/>
                  <a:gd name="T62" fmla="*/ 212 w 232"/>
                  <a:gd name="T63" fmla="*/ 28 h 162"/>
                  <a:gd name="T64" fmla="*/ 153 w 232"/>
                  <a:gd name="T65" fmla="*/ 129 h 162"/>
                  <a:gd name="T66" fmla="*/ 100 w 232"/>
                  <a:gd name="T67" fmla="*/ 145 h 162"/>
                  <a:gd name="T68" fmla="*/ 86 w 232"/>
                  <a:gd name="T69" fmla="*/ 144 h 162"/>
                  <a:gd name="T70" fmla="*/ 79 w 232"/>
                  <a:gd name="T71" fmla="*/ 137 h 162"/>
                  <a:gd name="T72" fmla="*/ 52 w 232"/>
                  <a:gd name="T73" fmla="*/ 96 h 162"/>
                  <a:gd name="T74" fmla="*/ 36 w 232"/>
                  <a:gd name="T75" fmla="*/ 96 h 162"/>
                  <a:gd name="T76" fmla="*/ 36 w 232"/>
                  <a:gd name="T77" fmla="*/ 32 h 162"/>
                  <a:gd name="T78" fmla="*/ 85 w 232"/>
                  <a:gd name="T79" fmla="*/ 32 h 162"/>
                  <a:gd name="T80" fmla="*/ 53 w 232"/>
                  <a:gd name="T81" fmla="*/ 64 h 162"/>
                  <a:gd name="T82" fmla="*/ 63 w 232"/>
                  <a:gd name="T83" fmla="*/ 74 h 162"/>
                  <a:gd name="T84" fmla="*/ 88 w 232"/>
                  <a:gd name="T85" fmla="*/ 85 h 162"/>
                  <a:gd name="T86" fmla="*/ 88 w 232"/>
                  <a:gd name="T87" fmla="*/ 85 h 162"/>
                  <a:gd name="T88" fmla="*/ 114 w 232"/>
                  <a:gd name="T89" fmla="*/ 74 h 162"/>
                  <a:gd name="T90" fmla="*/ 123 w 232"/>
                  <a:gd name="T91" fmla="*/ 64 h 162"/>
                  <a:gd name="T92" fmla="*/ 136 w 232"/>
                  <a:gd name="T93" fmla="*/ 64 h 162"/>
                  <a:gd name="T94" fmla="*/ 170 w 232"/>
                  <a:gd name="T95" fmla="*/ 116 h 162"/>
                  <a:gd name="T96" fmla="*/ 153 w 232"/>
                  <a:gd name="T97" fmla="*/ 129 h 162"/>
                  <a:gd name="T98" fmla="*/ 184 w 232"/>
                  <a:gd name="T99" fmla="*/ 108 h 162"/>
                  <a:gd name="T100" fmla="*/ 144 w 232"/>
                  <a:gd name="T101" fmla="*/ 48 h 162"/>
                  <a:gd name="T102" fmla="*/ 117 w 232"/>
                  <a:gd name="T103" fmla="*/ 48 h 162"/>
                  <a:gd name="T104" fmla="*/ 102 w 232"/>
                  <a:gd name="T105" fmla="*/ 63 h 162"/>
                  <a:gd name="T106" fmla="*/ 88 w 232"/>
                  <a:gd name="T107" fmla="*/ 69 h 162"/>
                  <a:gd name="T108" fmla="*/ 88 w 232"/>
                  <a:gd name="T109" fmla="*/ 69 h 162"/>
                  <a:gd name="T110" fmla="*/ 75 w 232"/>
                  <a:gd name="T111" fmla="*/ 64 h 162"/>
                  <a:gd name="T112" fmla="*/ 112 w 232"/>
                  <a:gd name="T113" fmla="*/ 27 h 162"/>
                  <a:gd name="T114" fmla="*/ 120 w 232"/>
                  <a:gd name="T115" fmla="*/ 24 h 162"/>
                  <a:gd name="T116" fmla="*/ 154 w 232"/>
                  <a:gd name="T117" fmla="*/ 24 h 162"/>
                  <a:gd name="T118" fmla="*/ 196 w 232"/>
                  <a:gd name="T119" fmla="*/ 42 h 162"/>
                  <a:gd name="T120" fmla="*/ 196 w 232"/>
                  <a:gd name="T121" fmla="*/ 108 h 162"/>
                  <a:gd name="T122" fmla="*/ 184 w 232"/>
                  <a:gd name="T123" fmla="*/ 108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2" h="162">
                    <a:moveTo>
                      <a:pt x="212" y="28"/>
                    </a:moveTo>
                    <a:cubicBezTo>
                      <a:pt x="232" y="28"/>
                      <a:pt x="232" y="28"/>
                      <a:pt x="232" y="28"/>
                    </a:cubicBezTo>
                    <a:cubicBezTo>
                      <a:pt x="232" y="12"/>
                      <a:pt x="232" y="12"/>
                      <a:pt x="232" y="12"/>
                    </a:cubicBezTo>
                    <a:cubicBezTo>
                      <a:pt x="196" y="12"/>
                      <a:pt x="196" y="12"/>
                      <a:pt x="196" y="12"/>
                    </a:cubicBezTo>
                    <a:cubicBezTo>
                      <a:pt x="196" y="24"/>
                      <a:pt x="196" y="24"/>
                      <a:pt x="196" y="24"/>
                    </a:cubicBezTo>
                    <a:cubicBezTo>
                      <a:pt x="158" y="8"/>
                      <a:pt x="158" y="8"/>
                      <a:pt x="158" y="8"/>
                    </a:cubicBezTo>
                    <a:cubicBezTo>
                      <a:pt x="120" y="8"/>
                      <a:pt x="120" y="8"/>
                      <a:pt x="120" y="8"/>
                    </a:cubicBezTo>
                    <a:cubicBezTo>
                      <a:pt x="113" y="8"/>
                      <a:pt x="106" y="11"/>
                      <a:pt x="101" y="16"/>
                    </a:cubicBezTo>
                    <a:cubicBezTo>
                      <a:pt x="36" y="16"/>
                      <a:pt x="36" y="16"/>
                      <a:pt x="36" y="16"/>
                    </a:cubicBezTo>
                    <a:cubicBezTo>
                      <a:pt x="36" y="0"/>
                      <a:pt x="36" y="0"/>
                      <a:pt x="36" y="0"/>
                    </a:cubicBezTo>
                    <a:cubicBezTo>
                      <a:pt x="0" y="0"/>
                      <a:pt x="0" y="0"/>
                      <a:pt x="0" y="0"/>
                    </a:cubicBezTo>
                    <a:cubicBezTo>
                      <a:pt x="0" y="16"/>
                      <a:pt x="0" y="16"/>
                      <a:pt x="0" y="16"/>
                    </a:cubicBezTo>
                    <a:cubicBezTo>
                      <a:pt x="20" y="16"/>
                      <a:pt x="20" y="16"/>
                      <a:pt x="20" y="16"/>
                    </a:cubicBezTo>
                    <a:cubicBezTo>
                      <a:pt x="20" y="108"/>
                      <a:pt x="20" y="108"/>
                      <a:pt x="20" y="108"/>
                    </a:cubicBezTo>
                    <a:cubicBezTo>
                      <a:pt x="0" y="108"/>
                      <a:pt x="0" y="108"/>
                      <a:pt x="0" y="108"/>
                    </a:cubicBezTo>
                    <a:cubicBezTo>
                      <a:pt x="0" y="124"/>
                      <a:pt x="0" y="124"/>
                      <a:pt x="0" y="124"/>
                    </a:cubicBezTo>
                    <a:cubicBezTo>
                      <a:pt x="36" y="124"/>
                      <a:pt x="36" y="124"/>
                      <a:pt x="36" y="124"/>
                    </a:cubicBezTo>
                    <a:cubicBezTo>
                      <a:pt x="36" y="112"/>
                      <a:pt x="36" y="112"/>
                      <a:pt x="36" y="112"/>
                    </a:cubicBezTo>
                    <a:cubicBezTo>
                      <a:pt x="44" y="112"/>
                      <a:pt x="44" y="112"/>
                      <a:pt x="44" y="112"/>
                    </a:cubicBezTo>
                    <a:cubicBezTo>
                      <a:pt x="65" y="146"/>
                      <a:pt x="65" y="146"/>
                      <a:pt x="65" y="146"/>
                    </a:cubicBezTo>
                    <a:cubicBezTo>
                      <a:pt x="69" y="151"/>
                      <a:pt x="73" y="156"/>
                      <a:pt x="79" y="158"/>
                    </a:cubicBezTo>
                    <a:cubicBezTo>
                      <a:pt x="84" y="161"/>
                      <a:pt x="89" y="162"/>
                      <a:pt x="94" y="162"/>
                    </a:cubicBezTo>
                    <a:cubicBezTo>
                      <a:pt x="98" y="162"/>
                      <a:pt x="101" y="162"/>
                      <a:pt x="104" y="161"/>
                    </a:cubicBezTo>
                    <a:cubicBezTo>
                      <a:pt x="157" y="145"/>
                      <a:pt x="157" y="145"/>
                      <a:pt x="157" y="145"/>
                    </a:cubicBezTo>
                    <a:cubicBezTo>
                      <a:pt x="168" y="141"/>
                      <a:pt x="178" y="134"/>
                      <a:pt x="185" y="124"/>
                    </a:cubicBezTo>
                    <a:cubicBezTo>
                      <a:pt x="196" y="124"/>
                      <a:pt x="196" y="124"/>
                      <a:pt x="196" y="124"/>
                    </a:cubicBezTo>
                    <a:cubicBezTo>
                      <a:pt x="196" y="136"/>
                      <a:pt x="196" y="136"/>
                      <a:pt x="196" y="136"/>
                    </a:cubicBezTo>
                    <a:cubicBezTo>
                      <a:pt x="232" y="136"/>
                      <a:pt x="232" y="136"/>
                      <a:pt x="232" y="136"/>
                    </a:cubicBezTo>
                    <a:cubicBezTo>
                      <a:pt x="232" y="120"/>
                      <a:pt x="232" y="120"/>
                      <a:pt x="232" y="120"/>
                    </a:cubicBezTo>
                    <a:cubicBezTo>
                      <a:pt x="212" y="120"/>
                      <a:pt x="212" y="120"/>
                      <a:pt x="212" y="120"/>
                    </a:cubicBezTo>
                    <a:cubicBezTo>
                      <a:pt x="212" y="31"/>
                      <a:pt x="212" y="31"/>
                      <a:pt x="212" y="31"/>
                    </a:cubicBezTo>
                    <a:lnTo>
                      <a:pt x="212" y="28"/>
                    </a:lnTo>
                    <a:close/>
                    <a:moveTo>
                      <a:pt x="153" y="129"/>
                    </a:moveTo>
                    <a:cubicBezTo>
                      <a:pt x="100" y="145"/>
                      <a:pt x="100" y="145"/>
                      <a:pt x="100" y="145"/>
                    </a:cubicBezTo>
                    <a:cubicBezTo>
                      <a:pt x="95" y="147"/>
                      <a:pt x="90" y="146"/>
                      <a:pt x="86" y="144"/>
                    </a:cubicBezTo>
                    <a:cubicBezTo>
                      <a:pt x="83" y="143"/>
                      <a:pt x="81" y="140"/>
                      <a:pt x="79" y="137"/>
                    </a:cubicBezTo>
                    <a:cubicBezTo>
                      <a:pt x="52" y="96"/>
                      <a:pt x="52" y="96"/>
                      <a:pt x="52" y="96"/>
                    </a:cubicBezTo>
                    <a:cubicBezTo>
                      <a:pt x="36" y="96"/>
                      <a:pt x="36" y="96"/>
                      <a:pt x="36" y="96"/>
                    </a:cubicBezTo>
                    <a:cubicBezTo>
                      <a:pt x="36" y="32"/>
                      <a:pt x="36" y="32"/>
                      <a:pt x="36" y="32"/>
                    </a:cubicBezTo>
                    <a:cubicBezTo>
                      <a:pt x="85" y="32"/>
                      <a:pt x="85" y="32"/>
                      <a:pt x="85" y="32"/>
                    </a:cubicBezTo>
                    <a:cubicBezTo>
                      <a:pt x="53" y="64"/>
                      <a:pt x="53" y="64"/>
                      <a:pt x="53" y="64"/>
                    </a:cubicBezTo>
                    <a:cubicBezTo>
                      <a:pt x="63" y="74"/>
                      <a:pt x="63" y="74"/>
                      <a:pt x="63" y="74"/>
                    </a:cubicBezTo>
                    <a:cubicBezTo>
                      <a:pt x="69" y="81"/>
                      <a:pt x="78" y="85"/>
                      <a:pt x="88" y="85"/>
                    </a:cubicBezTo>
                    <a:cubicBezTo>
                      <a:pt x="88" y="85"/>
                      <a:pt x="88" y="85"/>
                      <a:pt x="88" y="85"/>
                    </a:cubicBezTo>
                    <a:cubicBezTo>
                      <a:pt x="98" y="85"/>
                      <a:pt x="107" y="81"/>
                      <a:pt x="114" y="74"/>
                    </a:cubicBezTo>
                    <a:cubicBezTo>
                      <a:pt x="123" y="64"/>
                      <a:pt x="123" y="64"/>
                      <a:pt x="123" y="64"/>
                    </a:cubicBezTo>
                    <a:cubicBezTo>
                      <a:pt x="136" y="64"/>
                      <a:pt x="136" y="64"/>
                      <a:pt x="136" y="64"/>
                    </a:cubicBezTo>
                    <a:cubicBezTo>
                      <a:pt x="170" y="116"/>
                      <a:pt x="170" y="116"/>
                      <a:pt x="170" y="116"/>
                    </a:cubicBezTo>
                    <a:cubicBezTo>
                      <a:pt x="166" y="123"/>
                      <a:pt x="160" y="127"/>
                      <a:pt x="153" y="129"/>
                    </a:cubicBezTo>
                    <a:moveTo>
                      <a:pt x="184" y="108"/>
                    </a:moveTo>
                    <a:cubicBezTo>
                      <a:pt x="144" y="48"/>
                      <a:pt x="144" y="48"/>
                      <a:pt x="144" y="48"/>
                    </a:cubicBezTo>
                    <a:cubicBezTo>
                      <a:pt x="117" y="48"/>
                      <a:pt x="117" y="48"/>
                      <a:pt x="117" y="48"/>
                    </a:cubicBezTo>
                    <a:cubicBezTo>
                      <a:pt x="102" y="63"/>
                      <a:pt x="102" y="63"/>
                      <a:pt x="102" y="63"/>
                    </a:cubicBezTo>
                    <a:cubicBezTo>
                      <a:pt x="98" y="67"/>
                      <a:pt x="93" y="69"/>
                      <a:pt x="88" y="69"/>
                    </a:cubicBezTo>
                    <a:cubicBezTo>
                      <a:pt x="88" y="69"/>
                      <a:pt x="88" y="69"/>
                      <a:pt x="88" y="69"/>
                    </a:cubicBezTo>
                    <a:cubicBezTo>
                      <a:pt x="83" y="69"/>
                      <a:pt x="79" y="67"/>
                      <a:pt x="75" y="64"/>
                    </a:cubicBezTo>
                    <a:cubicBezTo>
                      <a:pt x="112" y="27"/>
                      <a:pt x="112" y="27"/>
                      <a:pt x="112" y="27"/>
                    </a:cubicBezTo>
                    <a:cubicBezTo>
                      <a:pt x="114" y="25"/>
                      <a:pt x="117" y="24"/>
                      <a:pt x="120" y="24"/>
                    </a:cubicBezTo>
                    <a:cubicBezTo>
                      <a:pt x="154" y="24"/>
                      <a:pt x="154" y="24"/>
                      <a:pt x="154" y="24"/>
                    </a:cubicBezTo>
                    <a:cubicBezTo>
                      <a:pt x="196" y="42"/>
                      <a:pt x="196" y="42"/>
                      <a:pt x="196" y="42"/>
                    </a:cubicBezTo>
                    <a:cubicBezTo>
                      <a:pt x="196" y="108"/>
                      <a:pt x="196" y="108"/>
                      <a:pt x="196" y="108"/>
                    </a:cubicBezTo>
                    <a:lnTo>
                      <a:pt x="184" y="108"/>
                    </a:lnTo>
                    <a:close/>
                  </a:path>
                </a:pathLst>
              </a:custGeom>
              <a:solidFill>
                <a:schemeClr val="bg1"/>
              </a:solidFill>
              <a:ln>
                <a:noFill/>
              </a:ln>
            </p:spPr>
            <p:txBody>
              <a:bodyPr vert="horz" wrap="square" lIns="0" tIns="61200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2" name="Freeform 520">
                <a:extLst>
                  <a:ext uri="{FF2B5EF4-FFF2-40B4-BE49-F238E27FC236}">
                    <a16:creationId xmlns:a16="http://schemas.microsoft.com/office/drawing/2014/main" id="{02017E2B-D4D8-4A75-B112-B402E55434C2}"/>
                  </a:ext>
                </a:extLst>
              </p:cNvPr>
              <p:cNvSpPr>
                <a:spLocks noEditPoints="1"/>
              </p:cNvSpPr>
              <p:nvPr/>
            </p:nvSpPr>
            <p:spPr bwMode="black">
              <a:xfrm flipH="1">
                <a:off x="5666408" y="2632614"/>
                <a:ext cx="415445" cy="330382"/>
              </a:xfrm>
              <a:custGeom>
                <a:avLst/>
                <a:gdLst>
                  <a:gd name="T0" fmla="*/ 112 w 224"/>
                  <a:gd name="T1" fmla="*/ 0 h 176"/>
                  <a:gd name="T2" fmla="*/ 224 w 224"/>
                  <a:gd name="T3" fmla="*/ 112 h 176"/>
                  <a:gd name="T4" fmla="*/ 208 w 224"/>
                  <a:gd name="T5" fmla="*/ 112 h 176"/>
                  <a:gd name="T6" fmla="*/ 112 w 224"/>
                  <a:gd name="T7" fmla="*/ 16 h 176"/>
                  <a:gd name="T8" fmla="*/ 16 w 224"/>
                  <a:gd name="T9" fmla="*/ 112 h 176"/>
                  <a:gd name="T10" fmla="*/ 0 w 224"/>
                  <a:gd name="T11" fmla="*/ 112 h 176"/>
                  <a:gd name="T12" fmla="*/ 112 w 224"/>
                  <a:gd name="T13" fmla="*/ 0 h 176"/>
                  <a:gd name="T14" fmla="*/ 112 w 224"/>
                  <a:gd name="T15" fmla="*/ 112 h 176"/>
                  <a:gd name="T16" fmla="*/ 135 w 224"/>
                  <a:gd name="T17" fmla="*/ 121 h 176"/>
                  <a:gd name="T18" fmla="*/ 135 w 224"/>
                  <a:gd name="T19" fmla="*/ 167 h 176"/>
                  <a:gd name="T20" fmla="*/ 112 w 224"/>
                  <a:gd name="T21" fmla="*/ 176 h 176"/>
                  <a:gd name="T22" fmla="*/ 89 w 224"/>
                  <a:gd name="T23" fmla="*/ 167 h 176"/>
                  <a:gd name="T24" fmla="*/ 84 w 224"/>
                  <a:gd name="T25" fmla="*/ 128 h 176"/>
                  <a:gd name="T26" fmla="*/ 58 w 224"/>
                  <a:gd name="T27" fmla="*/ 102 h 176"/>
                  <a:gd name="T28" fmla="*/ 70 w 224"/>
                  <a:gd name="T29" fmla="*/ 90 h 176"/>
                  <a:gd name="T30" fmla="*/ 96 w 224"/>
                  <a:gd name="T31" fmla="*/ 116 h 176"/>
                  <a:gd name="T32" fmla="*/ 112 w 224"/>
                  <a:gd name="T33" fmla="*/ 112 h 176"/>
                  <a:gd name="T34" fmla="*/ 123 w 224"/>
                  <a:gd name="T35" fmla="*/ 155 h 176"/>
                  <a:gd name="T36" fmla="*/ 128 w 224"/>
                  <a:gd name="T37" fmla="*/ 144 h 176"/>
                  <a:gd name="T38" fmla="*/ 123 w 224"/>
                  <a:gd name="T39" fmla="*/ 133 h 176"/>
                  <a:gd name="T40" fmla="*/ 112 w 224"/>
                  <a:gd name="T41" fmla="*/ 128 h 176"/>
                  <a:gd name="T42" fmla="*/ 101 w 224"/>
                  <a:gd name="T43" fmla="*/ 133 h 176"/>
                  <a:gd name="T44" fmla="*/ 96 w 224"/>
                  <a:gd name="T45" fmla="*/ 144 h 176"/>
                  <a:gd name="T46" fmla="*/ 101 w 224"/>
                  <a:gd name="T47" fmla="*/ 155 h 176"/>
                  <a:gd name="T48" fmla="*/ 112 w 224"/>
                  <a:gd name="T49" fmla="*/ 160 h 176"/>
                  <a:gd name="T50" fmla="*/ 123 w 224"/>
                  <a:gd name="T51" fmla="*/ 15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24" h="176">
                    <a:moveTo>
                      <a:pt x="112" y="0"/>
                    </a:moveTo>
                    <a:cubicBezTo>
                      <a:pt x="174" y="0"/>
                      <a:pt x="224" y="50"/>
                      <a:pt x="224" y="112"/>
                    </a:cubicBezTo>
                    <a:cubicBezTo>
                      <a:pt x="208" y="112"/>
                      <a:pt x="208" y="112"/>
                      <a:pt x="208" y="112"/>
                    </a:cubicBezTo>
                    <a:cubicBezTo>
                      <a:pt x="208" y="59"/>
                      <a:pt x="165" y="16"/>
                      <a:pt x="112" y="16"/>
                    </a:cubicBezTo>
                    <a:cubicBezTo>
                      <a:pt x="59" y="16"/>
                      <a:pt x="16" y="59"/>
                      <a:pt x="16" y="112"/>
                    </a:cubicBezTo>
                    <a:cubicBezTo>
                      <a:pt x="0" y="112"/>
                      <a:pt x="0" y="112"/>
                      <a:pt x="0" y="112"/>
                    </a:cubicBezTo>
                    <a:cubicBezTo>
                      <a:pt x="0" y="50"/>
                      <a:pt x="50" y="0"/>
                      <a:pt x="112" y="0"/>
                    </a:cubicBezTo>
                    <a:moveTo>
                      <a:pt x="112" y="112"/>
                    </a:moveTo>
                    <a:cubicBezTo>
                      <a:pt x="120" y="112"/>
                      <a:pt x="128" y="115"/>
                      <a:pt x="135" y="121"/>
                    </a:cubicBezTo>
                    <a:cubicBezTo>
                      <a:pt x="147" y="134"/>
                      <a:pt x="147" y="154"/>
                      <a:pt x="135" y="167"/>
                    </a:cubicBezTo>
                    <a:cubicBezTo>
                      <a:pt x="128" y="173"/>
                      <a:pt x="120" y="176"/>
                      <a:pt x="112" y="176"/>
                    </a:cubicBezTo>
                    <a:cubicBezTo>
                      <a:pt x="104" y="176"/>
                      <a:pt x="96" y="173"/>
                      <a:pt x="89" y="167"/>
                    </a:cubicBezTo>
                    <a:cubicBezTo>
                      <a:pt x="79" y="156"/>
                      <a:pt x="77" y="140"/>
                      <a:pt x="84" y="128"/>
                    </a:cubicBezTo>
                    <a:cubicBezTo>
                      <a:pt x="58" y="102"/>
                      <a:pt x="58" y="102"/>
                      <a:pt x="58" y="102"/>
                    </a:cubicBezTo>
                    <a:cubicBezTo>
                      <a:pt x="70" y="90"/>
                      <a:pt x="70" y="90"/>
                      <a:pt x="70" y="90"/>
                    </a:cubicBezTo>
                    <a:cubicBezTo>
                      <a:pt x="96" y="116"/>
                      <a:pt x="96" y="116"/>
                      <a:pt x="96" y="116"/>
                    </a:cubicBezTo>
                    <a:cubicBezTo>
                      <a:pt x="101" y="114"/>
                      <a:pt x="106" y="112"/>
                      <a:pt x="112" y="112"/>
                    </a:cubicBezTo>
                    <a:moveTo>
                      <a:pt x="123" y="155"/>
                    </a:moveTo>
                    <a:cubicBezTo>
                      <a:pt x="126" y="152"/>
                      <a:pt x="128" y="148"/>
                      <a:pt x="128" y="144"/>
                    </a:cubicBezTo>
                    <a:cubicBezTo>
                      <a:pt x="128" y="140"/>
                      <a:pt x="126" y="136"/>
                      <a:pt x="123" y="133"/>
                    </a:cubicBezTo>
                    <a:cubicBezTo>
                      <a:pt x="120" y="130"/>
                      <a:pt x="116" y="128"/>
                      <a:pt x="112" y="128"/>
                    </a:cubicBezTo>
                    <a:cubicBezTo>
                      <a:pt x="108" y="128"/>
                      <a:pt x="104" y="130"/>
                      <a:pt x="101" y="133"/>
                    </a:cubicBezTo>
                    <a:cubicBezTo>
                      <a:pt x="98" y="136"/>
                      <a:pt x="96" y="140"/>
                      <a:pt x="96" y="144"/>
                    </a:cubicBezTo>
                    <a:cubicBezTo>
                      <a:pt x="96" y="148"/>
                      <a:pt x="98" y="152"/>
                      <a:pt x="101" y="155"/>
                    </a:cubicBezTo>
                    <a:cubicBezTo>
                      <a:pt x="104" y="158"/>
                      <a:pt x="108" y="160"/>
                      <a:pt x="112" y="160"/>
                    </a:cubicBezTo>
                    <a:cubicBezTo>
                      <a:pt x="116" y="160"/>
                      <a:pt x="120" y="158"/>
                      <a:pt x="123" y="155"/>
                    </a:cubicBezTo>
                  </a:path>
                </a:pathLst>
              </a:custGeom>
              <a:solidFill>
                <a:schemeClr val="bg1"/>
              </a:solidFill>
              <a:ln>
                <a:noFill/>
              </a:ln>
            </p:spPr>
            <p:txBody>
              <a:bodyPr vert="horz" wrap="square" lIns="0" tIns="61200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sp>
            <p:nvSpPr>
              <p:cNvPr id="23" name="Freeform: Shape 191">
                <a:extLst>
                  <a:ext uri="{FF2B5EF4-FFF2-40B4-BE49-F238E27FC236}">
                    <a16:creationId xmlns:a16="http://schemas.microsoft.com/office/drawing/2014/main" id="{5A0203F2-02A5-402B-BB78-1D72802FC8D9}"/>
                  </a:ext>
                </a:extLst>
              </p:cNvPr>
              <p:cNvSpPr/>
              <p:nvPr/>
            </p:nvSpPr>
            <p:spPr>
              <a:xfrm>
                <a:off x="3684548" y="3892179"/>
                <a:ext cx="459268" cy="261430"/>
              </a:xfrm>
              <a:custGeom>
                <a:avLst/>
                <a:gdLst>
                  <a:gd name="connsiteX0" fmla="*/ 540544 w 619125"/>
                  <a:gd name="connsiteY0" fmla="*/ 83344 h 352425"/>
                  <a:gd name="connsiteX1" fmla="*/ 540544 w 619125"/>
                  <a:gd name="connsiteY1" fmla="*/ 7144 h 352425"/>
                  <a:gd name="connsiteX2" fmla="*/ 7144 w 619125"/>
                  <a:gd name="connsiteY2" fmla="*/ 7144 h 352425"/>
                  <a:gd name="connsiteX3" fmla="*/ 7144 w 619125"/>
                  <a:gd name="connsiteY3" fmla="*/ 273844 h 352425"/>
                  <a:gd name="connsiteX4" fmla="*/ 83344 w 619125"/>
                  <a:gd name="connsiteY4" fmla="*/ 273844 h 352425"/>
                  <a:gd name="connsiteX5" fmla="*/ 83344 w 619125"/>
                  <a:gd name="connsiteY5" fmla="*/ 350044 h 352425"/>
                  <a:gd name="connsiteX6" fmla="*/ 616744 w 619125"/>
                  <a:gd name="connsiteY6" fmla="*/ 350044 h 352425"/>
                  <a:gd name="connsiteX7" fmla="*/ 616744 w 619125"/>
                  <a:gd name="connsiteY7" fmla="*/ 83344 h 352425"/>
                  <a:gd name="connsiteX8" fmla="*/ 540544 w 619125"/>
                  <a:gd name="connsiteY8" fmla="*/ 83344 h 352425"/>
                  <a:gd name="connsiteX9" fmla="*/ 45244 w 619125"/>
                  <a:gd name="connsiteY9" fmla="*/ 235744 h 352425"/>
                  <a:gd name="connsiteX10" fmla="*/ 45244 w 619125"/>
                  <a:gd name="connsiteY10" fmla="*/ 45244 h 352425"/>
                  <a:gd name="connsiteX11" fmla="*/ 502444 w 619125"/>
                  <a:gd name="connsiteY11" fmla="*/ 45244 h 352425"/>
                  <a:gd name="connsiteX12" fmla="*/ 502444 w 619125"/>
                  <a:gd name="connsiteY12" fmla="*/ 83344 h 352425"/>
                  <a:gd name="connsiteX13" fmla="*/ 502444 w 619125"/>
                  <a:gd name="connsiteY13" fmla="*/ 121444 h 352425"/>
                  <a:gd name="connsiteX14" fmla="*/ 502444 w 619125"/>
                  <a:gd name="connsiteY14" fmla="*/ 235744 h 352425"/>
                  <a:gd name="connsiteX15" fmla="*/ 121444 w 619125"/>
                  <a:gd name="connsiteY15" fmla="*/ 235744 h 352425"/>
                  <a:gd name="connsiteX16" fmla="*/ 83344 w 619125"/>
                  <a:gd name="connsiteY16" fmla="*/ 235744 h 352425"/>
                  <a:gd name="connsiteX17" fmla="*/ 45244 w 619125"/>
                  <a:gd name="connsiteY17" fmla="*/ 235744 h 352425"/>
                  <a:gd name="connsiteX18" fmla="*/ 578644 w 619125"/>
                  <a:gd name="connsiteY18" fmla="*/ 311944 h 352425"/>
                  <a:gd name="connsiteX19" fmla="*/ 121444 w 619125"/>
                  <a:gd name="connsiteY19" fmla="*/ 311944 h 352425"/>
                  <a:gd name="connsiteX20" fmla="*/ 121444 w 619125"/>
                  <a:gd name="connsiteY20" fmla="*/ 273844 h 352425"/>
                  <a:gd name="connsiteX21" fmla="*/ 540544 w 619125"/>
                  <a:gd name="connsiteY21" fmla="*/ 273844 h 352425"/>
                  <a:gd name="connsiteX22" fmla="*/ 540544 w 619125"/>
                  <a:gd name="connsiteY22" fmla="*/ 121444 h 352425"/>
                  <a:gd name="connsiteX23" fmla="*/ 578644 w 619125"/>
                  <a:gd name="connsiteY23" fmla="*/ 121444 h 352425"/>
                  <a:gd name="connsiteX24" fmla="*/ 578644 w 619125"/>
                  <a:gd name="connsiteY24" fmla="*/ 311944 h 352425"/>
                  <a:gd name="connsiteX25" fmla="*/ 273844 w 619125"/>
                  <a:gd name="connsiteY25" fmla="*/ 216694 h 352425"/>
                  <a:gd name="connsiteX26" fmla="*/ 350044 w 619125"/>
                  <a:gd name="connsiteY26" fmla="*/ 140494 h 352425"/>
                  <a:gd name="connsiteX27" fmla="*/ 347567 w 619125"/>
                  <a:gd name="connsiteY27" fmla="*/ 121444 h 352425"/>
                  <a:gd name="connsiteX28" fmla="*/ 324136 w 619125"/>
                  <a:gd name="connsiteY28" fmla="*/ 83344 h 352425"/>
                  <a:gd name="connsiteX29" fmla="*/ 273844 w 619125"/>
                  <a:gd name="connsiteY29" fmla="*/ 64294 h 352425"/>
                  <a:gd name="connsiteX30" fmla="*/ 223552 w 619125"/>
                  <a:gd name="connsiteY30" fmla="*/ 83344 h 352425"/>
                  <a:gd name="connsiteX31" fmla="*/ 200120 w 619125"/>
                  <a:gd name="connsiteY31" fmla="*/ 121444 h 352425"/>
                  <a:gd name="connsiteX32" fmla="*/ 197644 w 619125"/>
                  <a:gd name="connsiteY32" fmla="*/ 140494 h 352425"/>
                  <a:gd name="connsiteX33" fmla="*/ 273844 w 619125"/>
                  <a:gd name="connsiteY33" fmla="*/ 216694 h 352425"/>
                  <a:gd name="connsiteX34" fmla="*/ 273844 w 619125"/>
                  <a:gd name="connsiteY34" fmla="*/ 102394 h 352425"/>
                  <a:gd name="connsiteX35" fmla="*/ 306610 w 619125"/>
                  <a:gd name="connsiteY35" fmla="*/ 121444 h 352425"/>
                  <a:gd name="connsiteX36" fmla="*/ 311944 w 619125"/>
                  <a:gd name="connsiteY36" fmla="*/ 140494 h 352425"/>
                  <a:gd name="connsiteX37" fmla="*/ 273844 w 619125"/>
                  <a:gd name="connsiteY37" fmla="*/ 178594 h 352425"/>
                  <a:gd name="connsiteX38" fmla="*/ 235744 w 619125"/>
                  <a:gd name="connsiteY38" fmla="*/ 140494 h 352425"/>
                  <a:gd name="connsiteX39" fmla="*/ 241078 w 619125"/>
                  <a:gd name="connsiteY39" fmla="*/ 121444 h 352425"/>
                  <a:gd name="connsiteX40" fmla="*/ 273844 w 619125"/>
                  <a:gd name="connsiteY40" fmla="*/ 102394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619125" h="352425">
                    <a:moveTo>
                      <a:pt x="540544" y="83344"/>
                    </a:moveTo>
                    <a:lnTo>
                      <a:pt x="540544" y="7144"/>
                    </a:lnTo>
                    <a:lnTo>
                      <a:pt x="7144" y="7144"/>
                    </a:lnTo>
                    <a:lnTo>
                      <a:pt x="7144" y="273844"/>
                    </a:lnTo>
                    <a:lnTo>
                      <a:pt x="83344" y="273844"/>
                    </a:lnTo>
                    <a:lnTo>
                      <a:pt x="83344" y="350044"/>
                    </a:lnTo>
                    <a:lnTo>
                      <a:pt x="616744" y="350044"/>
                    </a:lnTo>
                    <a:lnTo>
                      <a:pt x="616744" y="83344"/>
                    </a:lnTo>
                    <a:lnTo>
                      <a:pt x="540544" y="83344"/>
                    </a:lnTo>
                    <a:close/>
                    <a:moveTo>
                      <a:pt x="45244" y="235744"/>
                    </a:moveTo>
                    <a:lnTo>
                      <a:pt x="45244" y="45244"/>
                    </a:lnTo>
                    <a:lnTo>
                      <a:pt x="502444" y="45244"/>
                    </a:lnTo>
                    <a:lnTo>
                      <a:pt x="502444" y="83344"/>
                    </a:lnTo>
                    <a:lnTo>
                      <a:pt x="502444" y="121444"/>
                    </a:lnTo>
                    <a:lnTo>
                      <a:pt x="502444" y="235744"/>
                    </a:lnTo>
                    <a:lnTo>
                      <a:pt x="121444" y="235744"/>
                    </a:lnTo>
                    <a:lnTo>
                      <a:pt x="83344" y="235744"/>
                    </a:lnTo>
                    <a:lnTo>
                      <a:pt x="45244" y="235744"/>
                    </a:lnTo>
                    <a:close/>
                    <a:moveTo>
                      <a:pt x="578644" y="311944"/>
                    </a:moveTo>
                    <a:lnTo>
                      <a:pt x="121444" y="311944"/>
                    </a:lnTo>
                    <a:lnTo>
                      <a:pt x="121444" y="273844"/>
                    </a:lnTo>
                    <a:lnTo>
                      <a:pt x="540544" y="273844"/>
                    </a:lnTo>
                    <a:lnTo>
                      <a:pt x="540544" y="121444"/>
                    </a:lnTo>
                    <a:lnTo>
                      <a:pt x="578644" y="121444"/>
                    </a:lnTo>
                    <a:lnTo>
                      <a:pt x="578644" y="311944"/>
                    </a:lnTo>
                    <a:close/>
                    <a:moveTo>
                      <a:pt x="273844" y="216694"/>
                    </a:moveTo>
                    <a:cubicBezTo>
                      <a:pt x="315944" y="216694"/>
                      <a:pt x="350044" y="182594"/>
                      <a:pt x="350044" y="140494"/>
                    </a:cubicBezTo>
                    <a:cubicBezTo>
                      <a:pt x="350044" y="133922"/>
                      <a:pt x="349091" y="127540"/>
                      <a:pt x="347567" y="121444"/>
                    </a:cubicBezTo>
                    <a:cubicBezTo>
                      <a:pt x="343662" y="106490"/>
                      <a:pt x="335375" y="93250"/>
                      <a:pt x="324136" y="83344"/>
                    </a:cubicBezTo>
                    <a:cubicBezTo>
                      <a:pt x="310706" y="71533"/>
                      <a:pt x="293180" y="64294"/>
                      <a:pt x="273844" y="64294"/>
                    </a:cubicBezTo>
                    <a:cubicBezTo>
                      <a:pt x="254508" y="64294"/>
                      <a:pt x="236982" y="71533"/>
                      <a:pt x="223552" y="83344"/>
                    </a:cubicBezTo>
                    <a:cubicBezTo>
                      <a:pt x="212312" y="93250"/>
                      <a:pt x="204026" y="106490"/>
                      <a:pt x="200120" y="121444"/>
                    </a:cubicBezTo>
                    <a:cubicBezTo>
                      <a:pt x="198501" y="127540"/>
                      <a:pt x="197644" y="133922"/>
                      <a:pt x="197644" y="140494"/>
                    </a:cubicBezTo>
                    <a:cubicBezTo>
                      <a:pt x="197644" y="182594"/>
                      <a:pt x="231839" y="216694"/>
                      <a:pt x="273844" y="216694"/>
                    </a:cubicBezTo>
                    <a:close/>
                    <a:moveTo>
                      <a:pt x="273844" y="102394"/>
                    </a:moveTo>
                    <a:cubicBezTo>
                      <a:pt x="287846" y="102394"/>
                      <a:pt x="300038" y="110109"/>
                      <a:pt x="306610" y="121444"/>
                    </a:cubicBezTo>
                    <a:cubicBezTo>
                      <a:pt x="309848" y="127064"/>
                      <a:pt x="311944" y="133541"/>
                      <a:pt x="311944" y="140494"/>
                    </a:cubicBezTo>
                    <a:cubicBezTo>
                      <a:pt x="311944" y="161544"/>
                      <a:pt x="294894" y="178594"/>
                      <a:pt x="273844" y="178594"/>
                    </a:cubicBezTo>
                    <a:cubicBezTo>
                      <a:pt x="252794" y="178594"/>
                      <a:pt x="235744" y="161544"/>
                      <a:pt x="235744" y="140494"/>
                    </a:cubicBezTo>
                    <a:cubicBezTo>
                      <a:pt x="235744" y="133541"/>
                      <a:pt x="237744" y="127064"/>
                      <a:pt x="241078" y="121444"/>
                    </a:cubicBezTo>
                    <a:cubicBezTo>
                      <a:pt x="247650" y="110109"/>
                      <a:pt x="259842" y="102394"/>
                      <a:pt x="273844" y="102394"/>
                    </a:cubicBezTo>
                    <a:close/>
                  </a:path>
                </a:pathLst>
              </a:custGeom>
              <a:solidFill>
                <a:schemeClr val="bg1"/>
              </a:solidFill>
              <a:ln w="9525"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srgbClr val="000000"/>
                  </a:solidFill>
                  <a:effectLst/>
                  <a:uLnTx/>
                  <a:uFillTx/>
                  <a:latin typeface="Arial"/>
                  <a:ea typeface="+mn-ea"/>
                  <a:cs typeface="+mn-cs"/>
                </a:endParaRPr>
              </a:p>
            </p:txBody>
          </p:sp>
          <p:sp>
            <p:nvSpPr>
              <p:cNvPr id="24" name="Freeform 503">
                <a:extLst>
                  <a:ext uri="{FF2B5EF4-FFF2-40B4-BE49-F238E27FC236}">
                    <a16:creationId xmlns:a16="http://schemas.microsoft.com/office/drawing/2014/main" id="{1B9E0FDE-BE3F-4625-9041-E0DB49EDFAB6}"/>
                  </a:ext>
                </a:extLst>
              </p:cNvPr>
              <p:cNvSpPr>
                <a:spLocks noEditPoints="1"/>
              </p:cNvSpPr>
              <p:nvPr/>
            </p:nvSpPr>
            <p:spPr bwMode="black">
              <a:xfrm>
                <a:off x="4718477" y="4452533"/>
                <a:ext cx="366162" cy="356621"/>
              </a:xfrm>
              <a:custGeom>
                <a:avLst/>
                <a:gdLst>
                  <a:gd name="T0" fmla="*/ 0 w 195"/>
                  <a:gd name="T1" fmla="*/ 178 h 190"/>
                  <a:gd name="T2" fmla="*/ 125 w 195"/>
                  <a:gd name="T3" fmla="*/ 54 h 190"/>
                  <a:gd name="T4" fmla="*/ 106 w 195"/>
                  <a:gd name="T5" fmla="*/ 35 h 190"/>
                  <a:gd name="T6" fmla="*/ 80 w 195"/>
                  <a:gd name="T7" fmla="*/ 62 h 190"/>
                  <a:gd name="T8" fmla="*/ 68 w 195"/>
                  <a:gd name="T9" fmla="*/ 50 h 190"/>
                  <a:gd name="T10" fmla="*/ 106 w 195"/>
                  <a:gd name="T11" fmla="*/ 13 h 190"/>
                  <a:gd name="T12" fmla="*/ 150 w 195"/>
                  <a:gd name="T13" fmla="*/ 57 h 190"/>
                  <a:gd name="T14" fmla="*/ 150 w 195"/>
                  <a:gd name="T15" fmla="*/ 92 h 190"/>
                  <a:gd name="T16" fmla="*/ 190 w 195"/>
                  <a:gd name="T17" fmla="*/ 92 h 190"/>
                  <a:gd name="T18" fmla="*/ 190 w 195"/>
                  <a:gd name="T19" fmla="*/ 108 h 190"/>
                  <a:gd name="T20" fmla="*/ 134 w 195"/>
                  <a:gd name="T21" fmla="*/ 108 h 190"/>
                  <a:gd name="T22" fmla="*/ 134 w 195"/>
                  <a:gd name="T23" fmla="*/ 67 h 190"/>
                  <a:gd name="T24" fmla="*/ 101 w 195"/>
                  <a:gd name="T25" fmla="*/ 100 h 190"/>
                  <a:gd name="T26" fmla="*/ 137 w 195"/>
                  <a:gd name="T27" fmla="*/ 136 h 190"/>
                  <a:gd name="T28" fmla="*/ 88 w 195"/>
                  <a:gd name="T29" fmla="*/ 186 h 190"/>
                  <a:gd name="T30" fmla="*/ 76 w 195"/>
                  <a:gd name="T31" fmla="*/ 174 h 190"/>
                  <a:gd name="T32" fmla="*/ 115 w 195"/>
                  <a:gd name="T33" fmla="*/ 136 h 190"/>
                  <a:gd name="T34" fmla="*/ 90 w 195"/>
                  <a:gd name="T35" fmla="*/ 111 h 190"/>
                  <a:gd name="T36" fmla="*/ 12 w 195"/>
                  <a:gd name="T37" fmla="*/ 190 h 190"/>
                  <a:gd name="T38" fmla="*/ 0 w 195"/>
                  <a:gd name="T39" fmla="*/ 178 h 190"/>
                  <a:gd name="T40" fmla="*/ 171 w 195"/>
                  <a:gd name="T41" fmla="*/ 49 h 190"/>
                  <a:gd name="T42" fmla="*/ 195 w 195"/>
                  <a:gd name="T43" fmla="*/ 25 h 190"/>
                  <a:gd name="T44" fmla="*/ 171 w 195"/>
                  <a:gd name="T45" fmla="*/ 0 h 190"/>
                  <a:gd name="T46" fmla="*/ 146 w 195"/>
                  <a:gd name="T47" fmla="*/ 25 h 190"/>
                  <a:gd name="T48" fmla="*/ 171 w 195"/>
                  <a:gd name="T49" fmla="*/ 4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95" h="190">
                    <a:moveTo>
                      <a:pt x="0" y="178"/>
                    </a:moveTo>
                    <a:cubicBezTo>
                      <a:pt x="125" y="54"/>
                      <a:pt x="125" y="54"/>
                      <a:pt x="125" y="54"/>
                    </a:cubicBezTo>
                    <a:cubicBezTo>
                      <a:pt x="106" y="35"/>
                      <a:pt x="106" y="35"/>
                      <a:pt x="106" y="35"/>
                    </a:cubicBezTo>
                    <a:cubicBezTo>
                      <a:pt x="80" y="62"/>
                      <a:pt x="80" y="62"/>
                      <a:pt x="80" y="62"/>
                    </a:cubicBezTo>
                    <a:cubicBezTo>
                      <a:pt x="68" y="50"/>
                      <a:pt x="68" y="50"/>
                      <a:pt x="68" y="50"/>
                    </a:cubicBezTo>
                    <a:cubicBezTo>
                      <a:pt x="106" y="13"/>
                      <a:pt x="106" y="13"/>
                      <a:pt x="106" y="13"/>
                    </a:cubicBezTo>
                    <a:cubicBezTo>
                      <a:pt x="150" y="57"/>
                      <a:pt x="150" y="57"/>
                      <a:pt x="150" y="57"/>
                    </a:cubicBezTo>
                    <a:cubicBezTo>
                      <a:pt x="150" y="92"/>
                      <a:pt x="150" y="92"/>
                      <a:pt x="150" y="92"/>
                    </a:cubicBezTo>
                    <a:cubicBezTo>
                      <a:pt x="190" y="92"/>
                      <a:pt x="190" y="92"/>
                      <a:pt x="190" y="92"/>
                    </a:cubicBezTo>
                    <a:cubicBezTo>
                      <a:pt x="190" y="108"/>
                      <a:pt x="190" y="108"/>
                      <a:pt x="190" y="108"/>
                    </a:cubicBezTo>
                    <a:cubicBezTo>
                      <a:pt x="134" y="108"/>
                      <a:pt x="134" y="108"/>
                      <a:pt x="134" y="108"/>
                    </a:cubicBezTo>
                    <a:cubicBezTo>
                      <a:pt x="134" y="67"/>
                      <a:pt x="134" y="67"/>
                      <a:pt x="134" y="67"/>
                    </a:cubicBezTo>
                    <a:cubicBezTo>
                      <a:pt x="101" y="100"/>
                      <a:pt x="101" y="100"/>
                      <a:pt x="101" y="100"/>
                    </a:cubicBezTo>
                    <a:cubicBezTo>
                      <a:pt x="137" y="136"/>
                      <a:pt x="137" y="136"/>
                      <a:pt x="137" y="136"/>
                    </a:cubicBezTo>
                    <a:cubicBezTo>
                      <a:pt x="88" y="186"/>
                      <a:pt x="88" y="186"/>
                      <a:pt x="88" y="186"/>
                    </a:cubicBezTo>
                    <a:cubicBezTo>
                      <a:pt x="76" y="174"/>
                      <a:pt x="76" y="174"/>
                      <a:pt x="76" y="174"/>
                    </a:cubicBezTo>
                    <a:cubicBezTo>
                      <a:pt x="115" y="136"/>
                      <a:pt x="115" y="136"/>
                      <a:pt x="115" y="136"/>
                    </a:cubicBezTo>
                    <a:cubicBezTo>
                      <a:pt x="90" y="111"/>
                      <a:pt x="90" y="111"/>
                      <a:pt x="90" y="111"/>
                    </a:cubicBezTo>
                    <a:cubicBezTo>
                      <a:pt x="12" y="190"/>
                      <a:pt x="12" y="190"/>
                      <a:pt x="12" y="190"/>
                    </a:cubicBezTo>
                    <a:lnTo>
                      <a:pt x="0" y="178"/>
                    </a:lnTo>
                    <a:close/>
                    <a:moveTo>
                      <a:pt x="171" y="49"/>
                    </a:moveTo>
                    <a:cubicBezTo>
                      <a:pt x="184" y="49"/>
                      <a:pt x="195" y="38"/>
                      <a:pt x="195" y="25"/>
                    </a:cubicBezTo>
                    <a:cubicBezTo>
                      <a:pt x="195" y="11"/>
                      <a:pt x="184" y="0"/>
                      <a:pt x="171" y="0"/>
                    </a:cubicBezTo>
                    <a:cubicBezTo>
                      <a:pt x="157" y="0"/>
                      <a:pt x="146" y="11"/>
                      <a:pt x="146" y="25"/>
                    </a:cubicBezTo>
                    <a:cubicBezTo>
                      <a:pt x="146" y="38"/>
                      <a:pt x="157" y="49"/>
                      <a:pt x="171" y="49"/>
                    </a:cubicBezTo>
                  </a:path>
                </a:pathLst>
              </a:custGeom>
              <a:solidFill>
                <a:schemeClr val="bg1"/>
              </a:solidFill>
              <a:ln>
                <a:noFill/>
              </a:ln>
            </p:spPr>
            <p:txBody>
              <a:bodyPr vert="horz" wrap="square" lIns="0" tIns="612000" rIns="0" bIns="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srgbClr val="000000"/>
                  </a:solidFill>
                  <a:effectLst/>
                  <a:uLnTx/>
                  <a:uFillTx/>
                  <a:latin typeface="Arial"/>
                  <a:ea typeface="+mn-ea"/>
                  <a:cs typeface="+mn-cs"/>
                </a:endParaRPr>
              </a:p>
            </p:txBody>
          </p:sp>
        </p:grpSp>
        <p:sp>
          <p:nvSpPr>
            <p:cNvPr id="28" name="TextBox 27">
              <a:extLst>
                <a:ext uri="{FF2B5EF4-FFF2-40B4-BE49-F238E27FC236}">
                  <a16:creationId xmlns:a16="http://schemas.microsoft.com/office/drawing/2014/main" id="{55C5A649-7949-446A-B1F4-55BD368A250E}"/>
                </a:ext>
              </a:extLst>
            </p:cNvPr>
            <p:cNvSpPr txBox="1"/>
            <p:nvPr/>
          </p:nvSpPr>
          <p:spPr>
            <a:xfrm>
              <a:off x="3514073" y="5282462"/>
              <a:ext cx="5201860" cy="237133"/>
            </a:xfrm>
            <a:prstGeom prst="rect">
              <a:avLst/>
            </a:prstGeom>
            <a:solidFill>
              <a:srgbClr val="002856"/>
            </a:solidFill>
          </p:spPr>
          <p:txBody>
            <a:bodyPr wrap="square" l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smtClean="0">
                  <a:ln>
                    <a:noFill/>
                  </a:ln>
                  <a:solidFill>
                    <a:srgbClr val="FFFFFF"/>
                  </a:solidFill>
                  <a:effectLst/>
                  <a:uLnTx/>
                  <a:uFillTx/>
                  <a:latin typeface="Arial"/>
                  <a:ea typeface="+mn-ea"/>
                  <a:cs typeface="+mn-cs"/>
                </a:rPr>
                <a:t>ESS enablers</a:t>
              </a:r>
              <a:endParaRPr kumimoji="0" lang="en-US" sz="1600" b="0" i="0" u="none" strike="noStrike" kern="1200" cap="none" spc="0" normalizeH="0" baseline="0" noProof="0" dirty="0">
                <a:ln>
                  <a:noFill/>
                </a:ln>
                <a:solidFill>
                  <a:srgbClr val="FFFFFF"/>
                </a:solidFill>
                <a:effectLst/>
                <a:uLnTx/>
                <a:uFillTx/>
                <a:latin typeface="Arial"/>
                <a:ea typeface="+mn-ea"/>
                <a:cs typeface="+mn-cs"/>
              </a:endParaRPr>
            </a:p>
          </p:txBody>
        </p:sp>
      </p:grpSp>
      <p:graphicFrame>
        <p:nvGraphicFramePr>
          <p:cNvPr id="29" name="Object 28" hidden="1">
            <a:extLst>
              <a:ext uri="{FF2B5EF4-FFF2-40B4-BE49-F238E27FC236}">
                <a16:creationId xmlns:a16="http://schemas.microsoft.com/office/drawing/2014/main" id="{7BC2A5A1-1858-42FD-8935-C1228FA76FF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71" name="think-cell Slide" r:id="rId5" imgW="395" imgH="396" progId="TCLayout.ActiveDocument.1">
                  <p:embed/>
                </p:oleObj>
              </mc:Choice>
              <mc:Fallback>
                <p:oleObj name="think-cell Slide" r:id="rId5" imgW="395" imgH="396" progId="TCLayout.ActiveDocument.1">
                  <p:embed/>
                  <p:pic>
                    <p:nvPicPr>
                      <p:cNvPr id="29" name="Object 28" hidden="1">
                        <a:extLst>
                          <a:ext uri="{FF2B5EF4-FFF2-40B4-BE49-F238E27FC236}">
                            <a16:creationId xmlns:a16="http://schemas.microsoft.com/office/drawing/2014/main" id="{7BC2A5A1-1858-42FD-8935-C1228FA76F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ED2E7F3-B699-45D1-9861-3E830D38E0BB}"/>
              </a:ext>
            </a:extLst>
          </p:cNvPr>
          <p:cNvSpPr>
            <a:spLocks noGrp="1"/>
          </p:cNvSpPr>
          <p:nvPr>
            <p:ph type="title"/>
          </p:nvPr>
        </p:nvSpPr>
        <p:spPr/>
        <p:txBody>
          <a:bodyPr vert="horz"/>
          <a:lstStyle/>
          <a:p>
            <a:r>
              <a:rPr lang="en-GB" dirty="0" smtClean="0"/>
              <a:t>Eurostat roles</a:t>
            </a:r>
            <a:endParaRPr lang="en-GB" dirty="0"/>
          </a:p>
        </p:txBody>
      </p:sp>
      <p:sp>
        <p:nvSpPr>
          <p:cNvPr id="35" name="Rectangle 34"/>
          <p:cNvSpPr/>
          <p:nvPr/>
        </p:nvSpPr>
        <p:spPr>
          <a:xfrm>
            <a:off x="3737249" y="2985219"/>
            <a:ext cx="1447833" cy="523220"/>
          </a:xfrm>
          <a:prstGeom prst="rect">
            <a:avLst/>
          </a:prstGeom>
        </p:spPr>
        <p:txBody>
          <a:bodyPr wrap="none">
            <a:spAutoFit/>
          </a:bodyPr>
          <a:lstStyle/>
          <a:p>
            <a:pPr lvl="0" algn="ctr">
              <a:defRPr/>
            </a:pPr>
            <a:r>
              <a:rPr lang="en-US" sz="1400" dirty="0" smtClean="0">
                <a:solidFill>
                  <a:srgbClr val="FFFFFF"/>
                </a:solidFill>
              </a:rPr>
              <a:t>Enabling </a:t>
            </a:r>
          </a:p>
          <a:p>
            <a:pPr lvl="0" algn="ctr">
              <a:defRPr/>
            </a:pPr>
            <a:r>
              <a:rPr lang="en-US" sz="1400" dirty="0" smtClean="0">
                <a:solidFill>
                  <a:srgbClr val="FFFFFF"/>
                </a:solidFill>
              </a:rPr>
              <a:t>legal framework</a:t>
            </a:r>
            <a:endParaRPr lang="en-US" sz="1400" dirty="0">
              <a:solidFill>
                <a:srgbClr val="FFFFFF"/>
              </a:solidFill>
            </a:endParaRPr>
          </a:p>
        </p:txBody>
      </p:sp>
    </p:spTree>
    <p:extLst>
      <p:ext uri="{BB962C8B-B14F-4D97-AF65-F5344CB8AC3E}">
        <p14:creationId xmlns:p14="http://schemas.microsoft.com/office/powerpoint/2010/main" val="2381788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a:spLocks noGrp="1"/>
          </p:cNvSpPr>
          <p:nvPr>
            <p:ph type="title"/>
          </p:nvPr>
        </p:nvSpPr>
        <p:spPr>
          <a:xfrm>
            <a:off x="970722" y="482860"/>
            <a:ext cx="10515600" cy="782357"/>
          </a:xfrm>
        </p:spPr>
        <p:txBody>
          <a:bodyPr/>
          <a:lstStyle/>
          <a:p>
            <a:r>
              <a:rPr lang="en-GB" sz="3800" dirty="0" smtClean="0"/>
              <a:t>New partnerships – new forms of collaboration </a:t>
            </a:r>
            <a:endParaRPr lang="en-GB" sz="3800" dirty="0"/>
          </a:p>
        </p:txBody>
      </p:sp>
      <p:grpSp>
        <p:nvGrpSpPr>
          <p:cNvPr id="2" name="Group 1"/>
          <p:cNvGrpSpPr/>
          <p:nvPr/>
        </p:nvGrpSpPr>
        <p:grpSpPr>
          <a:xfrm>
            <a:off x="817555" y="1724815"/>
            <a:ext cx="4256310" cy="4128992"/>
            <a:chOff x="1716897" y="1563232"/>
            <a:chExt cx="3433588" cy="3323996"/>
          </a:xfrm>
        </p:grpSpPr>
        <p:pic>
          <p:nvPicPr>
            <p:cNvPr id="5" name="Picture 4"/>
            <p:cNvPicPr>
              <a:picLocks noChangeAspect="1"/>
            </p:cNvPicPr>
            <p:nvPr/>
          </p:nvPicPr>
          <p:blipFill>
            <a:blip r:embed="rId3"/>
            <a:stretch>
              <a:fillRect/>
            </a:stretch>
          </p:blipFill>
          <p:spPr>
            <a:xfrm>
              <a:off x="2073307" y="2214450"/>
              <a:ext cx="1406513" cy="938331"/>
            </a:xfrm>
            <a:prstGeom prst="rect">
              <a:avLst/>
            </a:prstGeom>
          </p:spPr>
        </p:pic>
        <p:sp>
          <p:nvSpPr>
            <p:cNvPr id="6" name="TextBox 5"/>
            <p:cNvSpPr txBox="1"/>
            <p:nvPr/>
          </p:nvSpPr>
          <p:spPr>
            <a:xfrm>
              <a:off x="2252041" y="1614531"/>
              <a:ext cx="1337064" cy="253916"/>
            </a:xfrm>
            <a:prstGeom prst="rect">
              <a:avLst/>
            </a:prstGeom>
            <a:noFill/>
          </p:spPr>
          <p:txBody>
            <a:bodyPr wrap="square" rtlCol="0">
              <a:spAutoFit/>
            </a:bodyPr>
            <a:lstStyle/>
            <a:p>
              <a:pPr algn="ctr"/>
              <a:r>
                <a:rPr lang="es-ES" sz="1050" dirty="0"/>
                <a:t> </a:t>
              </a:r>
              <a:endParaRPr lang="en-GB" sz="1050" dirty="0"/>
            </a:p>
          </p:txBody>
        </p:sp>
        <p:sp>
          <p:nvSpPr>
            <p:cNvPr id="14" name="TextBox 13"/>
            <p:cNvSpPr txBox="1"/>
            <p:nvPr/>
          </p:nvSpPr>
          <p:spPr>
            <a:xfrm>
              <a:off x="1716897" y="4366907"/>
              <a:ext cx="1872208" cy="520321"/>
            </a:xfrm>
            <a:prstGeom prst="rect">
              <a:avLst/>
            </a:prstGeom>
            <a:noFill/>
          </p:spPr>
          <p:txBody>
            <a:bodyPr wrap="square" rtlCol="0">
              <a:spAutoFit/>
            </a:bodyPr>
            <a:lstStyle/>
            <a:p>
              <a:pPr algn="ctr"/>
              <a:r>
                <a:rPr lang="en-GB" dirty="0">
                  <a:solidFill>
                    <a:srgbClr val="2D5EC1"/>
                  </a:solidFill>
                </a:rPr>
                <a:t>Citizens’ Engagement</a:t>
              </a:r>
              <a:endParaRPr lang="es-ES" dirty="0">
                <a:solidFill>
                  <a:srgbClr val="2D5EC1"/>
                </a:solidFill>
              </a:endParaRPr>
            </a:p>
          </p:txBody>
        </p:sp>
        <p:pic>
          <p:nvPicPr>
            <p:cNvPr id="15" name="Picture 14"/>
            <p:cNvPicPr>
              <a:picLocks noChangeAspect="1"/>
            </p:cNvPicPr>
            <p:nvPr/>
          </p:nvPicPr>
          <p:blipFill rotWithShape="1">
            <a:blip r:embed="rId4" cstate="print">
              <a:extLst>
                <a:ext uri="{28A0092B-C50C-407E-A947-70E740481C1C}">
                  <a14:useLocalDpi xmlns:a14="http://schemas.microsoft.com/office/drawing/2010/main" val="0"/>
                </a:ext>
              </a:extLst>
            </a:blip>
            <a:srcRect b="17054"/>
            <a:stretch/>
          </p:blipFill>
          <p:spPr>
            <a:xfrm>
              <a:off x="3589106" y="3288707"/>
              <a:ext cx="1498783" cy="932382"/>
            </a:xfrm>
            <a:prstGeom prst="rect">
              <a:avLst/>
            </a:prstGeom>
          </p:spPr>
        </p:pic>
        <p:sp>
          <p:nvSpPr>
            <p:cNvPr id="16" name="TextBox 15"/>
            <p:cNvSpPr txBox="1"/>
            <p:nvPr/>
          </p:nvSpPr>
          <p:spPr>
            <a:xfrm>
              <a:off x="3589106" y="4338039"/>
              <a:ext cx="1561379" cy="427407"/>
            </a:xfrm>
            <a:prstGeom prst="rect">
              <a:avLst/>
            </a:prstGeom>
            <a:noFill/>
          </p:spPr>
          <p:txBody>
            <a:bodyPr wrap="square" rtlCol="0">
              <a:spAutoFit/>
            </a:bodyPr>
            <a:lstStyle/>
            <a:p>
              <a:pPr algn="ctr"/>
              <a:r>
                <a:rPr lang="en-GB" dirty="0">
                  <a:solidFill>
                    <a:srgbClr val="2D5EC1"/>
                  </a:solidFill>
                </a:rPr>
                <a:t>Private sector</a:t>
              </a:r>
            </a:p>
            <a:p>
              <a:pPr algn="ctr"/>
              <a:endParaRPr lang="en-GB" sz="1050" dirty="0">
                <a:solidFill>
                  <a:srgbClr val="2D5EC1"/>
                </a:solidFill>
              </a:endParaRPr>
            </a:p>
          </p:txBody>
        </p:sp>
        <p:sp>
          <p:nvSpPr>
            <p:cNvPr id="19" name="TextBox 18"/>
            <p:cNvSpPr txBox="1"/>
            <p:nvPr/>
          </p:nvSpPr>
          <p:spPr>
            <a:xfrm>
              <a:off x="1918441" y="1724815"/>
              <a:ext cx="1561379" cy="297326"/>
            </a:xfrm>
            <a:prstGeom prst="rect">
              <a:avLst/>
            </a:prstGeom>
            <a:noFill/>
          </p:spPr>
          <p:txBody>
            <a:bodyPr wrap="square" rtlCol="0">
              <a:spAutoFit/>
            </a:bodyPr>
            <a:lstStyle/>
            <a:p>
              <a:pPr algn="ctr"/>
              <a:r>
                <a:rPr lang="en-GB" dirty="0">
                  <a:solidFill>
                    <a:srgbClr val="2D5EC1"/>
                  </a:solidFill>
                </a:rPr>
                <a:t>Academics</a:t>
              </a:r>
            </a:p>
          </p:txBody>
        </p:sp>
        <p:sp>
          <p:nvSpPr>
            <p:cNvPr id="17" name="TextBox 16"/>
            <p:cNvSpPr txBox="1"/>
            <p:nvPr/>
          </p:nvSpPr>
          <p:spPr>
            <a:xfrm>
              <a:off x="3479820" y="1563232"/>
              <a:ext cx="1561379" cy="520321"/>
            </a:xfrm>
            <a:prstGeom prst="rect">
              <a:avLst/>
            </a:prstGeom>
            <a:noFill/>
          </p:spPr>
          <p:txBody>
            <a:bodyPr wrap="square" rtlCol="0">
              <a:spAutoFit/>
            </a:bodyPr>
            <a:lstStyle/>
            <a:p>
              <a:pPr algn="ctr"/>
              <a:r>
                <a:rPr lang="en-GB" dirty="0">
                  <a:solidFill>
                    <a:srgbClr val="2D5EC1"/>
                  </a:solidFill>
                </a:rPr>
                <a:t>International organisations </a:t>
              </a:r>
            </a:p>
          </p:txBody>
        </p:sp>
        <p:pic>
          <p:nvPicPr>
            <p:cNvPr id="7" name="Picture 6"/>
            <p:cNvPicPr>
              <a:picLocks noChangeAspect="1"/>
            </p:cNvPicPr>
            <p:nvPr/>
          </p:nvPicPr>
          <p:blipFill>
            <a:blip r:embed="rId5"/>
            <a:stretch>
              <a:fillRect/>
            </a:stretch>
          </p:blipFill>
          <p:spPr>
            <a:xfrm>
              <a:off x="3582997" y="2230686"/>
              <a:ext cx="1458201" cy="920517"/>
            </a:xfrm>
            <a:prstGeom prst="rect">
              <a:avLst/>
            </a:prstGeom>
          </p:spPr>
        </p:pic>
        <p:pic>
          <p:nvPicPr>
            <p:cNvPr id="7174" name="Picture 6" descr="https://cordis.europa.eu/docs/results/images/2019-08/386895.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73307" y="3288707"/>
              <a:ext cx="1341476" cy="1006107"/>
            </a:xfrm>
            <a:prstGeom prst="rect">
              <a:avLst/>
            </a:prstGeom>
            <a:noFill/>
            <a:extLst>
              <a:ext uri="{909E8E84-426E-40DD-AFC4-6F175D3DCCD1}">
                <a14:hiddenFill xmlns:a14="http://schemas.microsoft.com/office/drawing/2010/main">
                  <a:solidFill>
                    <a:srgbClr val="FFFFFF"/>
                  </a:solidFill>
                </a14:hiddenFill>
              </a:ext>
            </a:extLst>
          </p:spPr>
        </p:pic>
      </p:grpSp>
      <p:graphicFrame>
        <p:nvGraphicFramePr>
          <p:cNvPr id="3" name="Diagram 2"/>
          <p:cNvGraphicFramePr/>
          <p:nvPr>
            <p:extLst>
              <p:ext uri="{D42A27DB-BD31-4B8C-83A1-F6EECF244321}">
                <p14:modId xmlns:p14="http://schemas.microsoft.com/office/powerpoint/2010/main" val="883082593"/>
              </p:ext>
            </p:extLst>
          </p:nvPr>
        </p:nvGraphicFramePr>
        <p:xfrm>
          <a:off x="6060694" y="1702408"/>
          <a:ext cx="5499671" cy="441152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20" name="Picture 19"/>
          <p:cNvPicPr>
            <a:picLocks noChangeAspect="1"/>
          </p:cNvPicPr>
          <p:nvPr/>
        </p:nvPicPr>
        <p:blipFill>
          <a:blip r:embed="rId12"/>
          <a:stretch>
            <a:fillRect/>
          </a:stretch>
        </p:blipFill>
        <p:spPr>
          <a:xfrm>
            <a:off x="12343616" y="1033310"/>
            <a:ext cx="4781550" cy="600075"/>
          </a:xfrm>
          <a:prstGeom prst="rect">
            <a:avLst/>
          </a:prstGeom>
        </p:spPr>
      </p:pic>
      <p:pic>
        <p:nvPicPr>
          <p:cNvPr id="21" name="Picture 20"/>
          <p:cNvPicPr>
            <a:picLocks noChangeAspect="1"/>
          </p:cNvPicPr>
          <p:nvPr/>
        </p:nvPicPr>
        <p:blipFill>
          <a:blip r:embed="rId13"/>
          <a:stretch>
            <a:fillRect/>
          </a:stretch>
        </p:blipFill>
        <p:spPr>
          <a:xfrm>
            <a:off x="12343616" y="2615051"/>
            <a:ext cx="5162550" cy="600075"/>
          </a:xfrm>
          <a:prstGeom prst="rect">
            <a:avLst/>
          </a:prstGeom>
        </p:spPr>
      </p:pic>
      <p:pic>
        <p:nvPicPr>
          <p:cNvPr id="22" name="Picture 21"/>
          <p:cNvPicPr>
            <a:picLocks noChangeAspect="1"/>
          </p:cNvPicPr>
          <p:nvPr/>
        </p:nvPicPr>
        <p:blipFill>
          <a:blip r:embed="rId14"/>
          <a:stretch>
            <a:fillRect/>
          </a:stretch>
        </p:blipFill>
        <p:spPr>
          <a:xfrm>
            <a:off x="12343616" y="3341751"/>
            <a:ext cx="4457700" cy="590550"/>
          </a:xfrm>
          <a:prstGeom prst="rect">
            <a:avLst/>
          </a:prstGeom>
        </p:spPr>
      </p:pic>
      <p:pic>
        <p:nvPicPr>
          <p:cNvPr id="23" name="Picture 22"/>
          <p:cNvPicPr>
            <a:picLocks noChangeAspect="1"/>
          </p:cNvPicPr>
          <p:nvPr/>
        </p:nvPicPr>
        <p:blipFill>
          <a:blip r:embed="rId15"/>
          <a:stretch>
            <a:fillRect/>
          </a:stretch>
        </p:blipFill>
        <p:spPr>
          <a:xfrm>
            <a:off x="12343616" y="4209832"/>
            <a:ext cx="5219700" cy="542925"/>
          </a:xfrm>
          <a:prstGeom prst="rect">
            <a:avLst/>
          </a:prstGeom>
        </p:spPr>
      </p:pic>
      <p:pic>
        <p:nvPicPr>
          <p:cNvPr id="24" name="Picture 23"/>
          <p:cNvPicPr>
            <a:picLocks noChangeAspect="1"/>
          </p:cNvPicPr>
          <p:nvPr/>
        </p:nvPicPr>
        <p:blipFill>
          <a:blip r:embed="rId16"/>
          <a:stretch>
            <a:fillRect/>
          </a:stretch>
        </p:blipFill>
        <p:spPr>
          <a:xfrm>
            <a:off x="12343616" y="1830700"/>
            <a:ext cx="6400800" cy="600075"/>
          </a:xfrm>
          <a:prstGeom prst="rect">
            <a:avLst/>
          </a:prstGeom>
        </p:spPr>
      </p:pic>
    </p:spTree>
    <p:extLst>
      <p:ext uri="{BB962C8B-B14F-4D97-AF65-F5344CB8AC3E}">
        <p14:creationId xmlns:p14="http://schemas.microsoft.com/office/powerpoint/2010/main" val="10815369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IE" dirty="0" smtClean="0"/>
              <a:t>Thank you</a:t>
            </a:r>
            <a:endParaRPr lang="en-GB" dirty="0"/>
          </a:p>
        </p:txBody>
      </p:sp>
      <p:sp>
        <p:nvSpPr>
          <p:cNvPr id="3" name="Subtitle 2"/>
          <p:cNvSpPr>
            <a:spLocks noGrp="1"/>
          </p:cNvSpPr>
          <p:nvPr>
            <p:ph type="subTitle" idx="1"/>
          </p:nvPr>
        </p:nvSpPr>
        <p:spPr>
          <a:xfrm>
            <a:off x="759575" y="4646435"/>
            <a:ext cx="8941016" cy="1853519"/>
          </a:xfrm>
        </p:spPr>
        <p:txBody>
          <a:bodyPr wrap="square" anchor="b" anchorCtr="0"/>
          <a:lstStyle/>
          <a:p>
            <a:r>
              <a:rPr lang="en-US" sz="1050" b="1" dirty="0"/>
              <a:t>© European Union 2020</a:t>
            </a:r>
          </a:p>
          <a:p>
            <a:r>
              <a:rPr lang="en-US" sz="1050" dirty="0" smtClean="0"/>
              <a:t>Unless otherwise noted the reuse of this presentation is </a:t>
            </a:r>
            <a:r>
              <a:rPr lang="en-US" sz="1050" dirty="0" err="1" smtClean="0"/>
              <a:t>authorised</a:t>
            </a:r>
            <a:r>
              <a:rPr lang="en-US" sz="1050" dirty="0" smtClean="0"/>
              <a:t> under the </a:t>
            </a:r>
            <a:r>
              <a:rPr lang="en-US" sz="1050" dirty="0" smtClean="0">
                <a:hlinkClick r:id="rId3"/>
              </a:rPr>
              <a:t>CC BY 4.0 </a:t>
            </a:r>
            <a:r>
              <a:rPr lang="en-US" sz="1050" dirty="0"/>
              <a:t>license. For any use or reproduction of elements that are not owned by the EU, permission may need to be sought directly from the respective </a:t>
            </a:r>
            <a:r>
              <a:rPr lang="en-US" sz="1050" dirty="0" smtClean="0"/>
              <a:t>right holders.</a:t>
            </a:r>
          </a:p>
          <a:p>
            <a:r>
              <a:rPr lang="en-US" sz="1050" dirty="0" smtClean="0"/>
              <a:t>Slide </a:t>
            </a:r>
            <a:r>
              <a:rPr lang="en-US" sz="1050" dirty="0" smtClean="0">
                <a:solidFill>
                  <a:schemeClr val="accent6"/>
                </a:solidFill>
              </a:rPr>
              <a:t>xx</a:t>
            </a:r>
            <a:r>
              <a:rPr lang="en-US" sz="1050" dirty="0" smtClean="0"/>
              <a:t>: </a:t>
            </a:r>
            <a:r>
              <a:rPr lang="en-US" sz="1050" dirty="0">
                <a:solidFill>
                  <a:schemeClr val="accent6"/>
                </a:solidFill>
              </a:rPr>
              <a:t>e</a:t>
            </a:r>
            <a:r>
              <a:rPr lang="en-US" sz="1050" dirty="0" smtClean="0">
                <a:solidFill>
                  <a:schemeClr val="accent6"/>
                </a:solidFill>
              </a:rPr>
              <a:t>lement concerned</a:t>
            </a:r>
            <a:r>
              <a:rPr lang="en-US" sz="1050" dirty="0" smtClean="0"/>
              <a:t>, source</a:t>
            </a:r>
            <a:r>
              <a:rPr lang="en-US" sz="1050" dirty="0" smtClean="0">
                <a:solidFill>
                  <a:schemeClr val="accent6"/>
                </a:solidFill>
              </a:rPr>
              <a:t>: e.g. Fotolia.com</a:t>
            </a:r>
            <a:r>
              <a:rPr lang="en-US" sz="1050" dirty="0" smtClean="0"/>
              <a:t>; Slide </a:t>
            </a:r>
            <a:r>
              <a:rPr lang="en-US" sz="1050" dirty="0" smtClean="0">
                <a:solidFill>
                  <a:schemeClr val="accent6"/>
                </a:solidFill>
              </a:rPr>
              <a:t>xx</a:t>
            </a:r>
            <a:r>
              <a:rPr lang="en-US" sz="1050" dirty="0" smtClean="0"/>
              <a:t>: </a:t>
            </a:r>
            <a:r>
              <a:rPr lang="en-US" sz="1050" dirty="0" smtClean="0">
                <a:solidFill>
                  <a:schemeClr val="accent6"/>
                </a:solidFill>
              </a:rPr>
              <a:t>element concerned</a:t>
            </a:r>
            <a:r>
              <a:rPr lang="en-US" sz="1050" dirty="0" smtClean="0"/>
              <a:t>, source: </a:t>
            </a:r>
            <a:r>
              <a:rPr lang="en-US" sz="1050" dirty="0" smtClean="0">
                <a:solidFill>
                  <a:schemeClr val="accent6"/>
                </a:solidFill>
              </a:rPr>
              <a:t>e.g. iStock.com</a:t>
            </a:r>
            <a:endParaRPr lang="en-GB" sz="1050" dirty="0">
              <a:solidFill>
                <a:schemeClr val="accent6"/>
              </a:solidFill>
            </a:endParaRPr>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30524" y="4858246"/>
            <a:ext cx="1023496" cy="358097"/>
          </a:xfrm>
          <a:prstGeom prst="rect">
            <a:avLst/>
          </a:prstGeom>
        </p:spPr>
      </p:pic>
    </p:spTree>
    <p:extLst>
      <p:ext uri="{BB962C8B-B14F-4D97-AF65-F5344CB8AC3E}">
        <p14:creationId xmlns:p14="http://schemas.microsoft.com/office/powerpoint/2010/main" val="427361931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F0B82D38-D83D-4B5C-8349-2EC57A640A9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93" name="think-cell Slide" r:id="rId6" imgW="425" imgH="424" progId="TCLayout.ActiveDocument.1">
                  <p:embed/>
                </p:oleObj>
              </mc:Choice>
              <mc:Fallback>
                <p:oleObj name="think-cell Slide" r:id="rId6" imgW="425" imgH="424" progId="TCLayout.ActiveDocument.1">
                  <p:embed/>
                  <p:pic>
                    <p:nvPicPr>
                      <p:cNvPr id="4" name="Object 3" hidden="1">
                        <a:extLst>
                          <a:ext uri="{FF2B5EF4-FFF2-40B4-BE49-F238E27FC236}">
                            <a16:creationId xmlns:a16="http://schemas.microsoft.com/office/drawing/2014/main" id="{F0B82D38-D83D-4B5C-8349-2EC57A640A90}"/>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BCC03FB1-A6F6-464E-9DE1-2FF6B457B411}"/>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p:cNvSpPr>
            <a:spLocks noGrp="1"/>
          </p:cNvSpPr>
          <p:nvPr>
            <p:ph type="title"/>
          </p:nvPr>
        </p:nvSpPr>
        <p:spPr bwMode="gray"/>
        <p:txBody>
          <a:bodyPr/>
          <a:lstStyle/>
          <a:p>
            <a:r>
              <a:rPr lang="en-IE" dirty="0" smtClean="0"/>
              <a:t>Outline</a:t>
            </a:r>
            <a:endParaRPr lang="en-US" dirty="0"/>
          </a:p>
        </p:txBody>
      </p:sp>
      <p:sp>
        <p:nvSpPr>
          <p:cNvPr id="31" name="Rectangle 30"/>
          <p:cNvSpPr/>
          <p:nvPr/>
        </p:nvSpPr>
        <p:spPr bwMode="gray">
          <a:xfrm>
            <a:off x="2354258" y="2210218"/>
            <a:ext cx="7772400" cy="5486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0" numCol="1" spcCol="0" rtlCol="0" fromWordArt="0" anchor="b" anchorCtr="0" forceAA="0" compatLnSpc="1">
            <a:prstTxWarp prst="textNoShape">
              <a:avLst/>
            </a:prstTxWarp>
            <a:noAutofit/>
          </a:bodyPr>
          <a:lstStyle/>
          <a:p>
            <a:r>
              <a:rPr lang="en-IE" sz="2400" dirty="0"/>
              <a:t>Drivers</a:t>
            </a:r>
            <a:endParaRPr lang="en-US" sz="2400" dirty="0"/>
          </a:p>
        </p:txBody>
      </p:sp>
      <p:sp>
        <p:nvSpPr>
          <p:cNvPr id="35" name="Rectangle 34"/>
          <p:cNvSpPr/>
          <p:nvPr/>
        </p:nvSpPr>
        <p:spPr bwMode="gray">
          <a:xfrm>
            <a:off x="1203990" y="2436596"/>
            <a:ext cx="670984" cy="296862"/>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3200" dirty="0">
                <a:solidFill>
                  <a:schemeClr val="tx2"/>
                </a:solidFill>
              </a:rPr>
              <a:t>0</a:t>
            </a:r>
            <a:r>
              <a:rPr lang="en-BE" sz="3200" dirty="0">
                <a:solidFill>
                  <a:schemeClr val="tx2"/>
                </a:solidFill>
              </a:rPr>
              <a:t>2</a:t>
            </a:r>
            <a:endParaRPr lang="en-US" sz="1500" dirty="0">
              <a:solidFill>
                <a:schemeClr val="tx2"/>
              </a:solidFill>
            </a:endParaRPr>
          </a:p>
        </p:txBody>
      </p:sp>
      <p:cxnSp>
        <p:nvCxnSpPr>
          <p:cNvPr id="33" name="Straight Connector 32"/>
          <p:cNvCxnSpPr/>
          <p:nvPr/>
        </p:nvCxnSpPr>
        <p:spPr bwMode="gray">
          <a:xfrm rot="16200000">
            <a:off x="1856305" y="2459138"/>
            <a:ext cx="548640" cy="0"/>
          </a:xfrm>
          <a:prstGeom prst="line">
            <a:avLst/>
          </a:prstGeom>
          <a:solidFill>
            <a:srgbClr val="00529B"/>
          </a:solidFill>
          <a:ln w="28575" cap="flat" cmpd="sng" algn="ctr">
            <a:solidFill>
              <a:srgbClr val="009AD7"/>
            </a:solidFill>
            <a:prstDash val="solid"/>
            <a:round/>
            <a:headEnd type="none" w="med" len="med"/>
            <a:tailEnd type="none" w="lg" len="lg"/>
          </a:ln>
          <a:effectLst/>
        </p:spPr>
      </p:cxnSp>
      <p:sp>
        <p:nvSpPr>
          <p:cNvPr id="50" name="Rectangle 49"/>
          <p:cNvSpPr/>
          <p:nvPr/>
        </p:nvSpPr>
        <p:spPr bwMode="gray">
          <a:xfrm>
            <a:off x="1198910" y="3405971"/>
            <a:ext cx="670984" cy="296862"/>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3200" dirty="0">
                <a:solidFill>
                  <a:schemeClr val="tx2"/>
                </a:solidFill>
              </a:rPr>
              <a:t>0</a:t>
            </a:r>
            <a:r>
              <a:rPr lang="en-BE" sz="3200" dirty="0">
                <a:solidFill>
                  <a:schemeClr val="tx2"/>
                </a:solidFill>
              </a:rPr>
              <a:t>3</a:t>
            </a:r>
            <a:endParaRPr lang="en-US" sz="3200" dirty="0">
              <a:solidFill>
                <a:schemeClr val="tx2"/>
              </a:solidFill>
            </a:endParaRPr>
          </a:p>
        </p:txBody>
      </p:sp>
      <p:cxnSp>
        <p:nvCxnSpPr>
          <p:cNvPr id="47" name="Straight Connector 46"/>
          <p:cNvCxnSpPr/>
          <p:nvPr/>
        </p:nvCxnSpPr>
        <p:spPr bwMode="gray">
          <a:xfrm rot="16200000">
            <a:off x="1856305" y="3428513"/>
            <a:ext cx="548640" cy="0"/>
          </a:xfrm>
          <a:prstGeom prst="line">
            <a:avLst/>
          </a:prstGeom>
          <a:solidFill>
            <a:srgbClr val="00529B"/>
          </a:solidFill>
          <a:ln w="28575" cap="flat" cmpd="sng" algn="ctr">
            <a:solidFill>
              <a:srgbClr val="009AD7"/>
            </a:solidFill>
            <a:prstDash val="solid"/>
            <a:round/>
            <a:headEnd type="none" w="med" len="med"/>
            <a:tailEnd type="none" w="lg" len="lg"/>
          </a:ln>
          <a:effectLst/>
        </p:spPr>
      </p:cxnSp>
      <p:sp>
        <p:nvSpPr>
          <p:cNvPr id="64" name="Rectangle 63"/>
          <p:cNvSpPr/>
          <p:nvPr/>
        </p:nvSpPr>
        <p:spPr bwMode="gray">
          <a:xfrm>
            <a:off x="1183670" y="4394140"/>
            <a:ext cx="670984" cy="296862"/>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3200" dirty="0">
                <a:solidFill>
                  <a:schemeClr val="tx2"/>
                </a:solidFill>
              </a:rPr>
              <a:t>0</a:t>
            </a:r>
            <a:r>
              <a:rPr lang="en-BE" sz="3200" dirty="0">
                <a:solidFill>
                  <a:schemeClr val="tx2"/>
                </a:solidFill>
              </a:rPr>
              <a:t>4</a:t>
            </a:r>
            <a:endParaRPr lang="en-US" sz="3200" dirty="0">
              <a:solidFill>
                <a:schemeClr val="tx2"/>
              </a:solidFill>
            </a:endParaRPr>
          </a:p>
        </p:txBody>
      </p:sp>
      <p:cxnSp>
        <p:nvCxnSpPr>
          <p:cNvPr id="65" name="Straight Connector 64"/>
          <p:cNvCxnSpPr/>
          <p:nvPr/>
        </p:nvCxnSpPr>
        <p:spPr bwMode="gray">
          <a:xfrm rot="16200000">
            <a:off x="1856305" y="4416682"/>
            <a:ext cx="548640" cy="0"/>
          </a:xfrm>
          <a:prstGeom prst="line">
            <a:avLst/>
          </a:prstGeom>
          <a:solidFill>
            <a:srgbClr val="00529B"/>
          </a:solidFill>
          <a:ln w="28575" cap="flat" cmpd="sng" algn="ctr">
            <a:solidFill>
              <a:srgbClr val="009AD7"/>
            </a:solidFill>
            <a:prstDash val="solid"/>
            <a:round/>
            <a:headEnd type="none" w="med" len="med"/>
            <a:tailEnd type="none" w="lg" len="lg"/>
          </a:ln>
          <a:effectLst/>
        </p:spPr>
      </p:cxnSp>
      <p:sp>
        <p:nvSpPr>
          <p:cNvPr id="63" name="Rectangle 62"/>
          <p:cNvSpPr/>
          <p:nvPr/>
        </p:nvSpPr>
        <p:spPr bwMode="gray">
          <a:xfrm>
            <a:off x="2329151" y="3211343"/>
            <a:ext cx="7772400" cy="5486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0" numCol="1" spcCol="0" rtlCol="0" fromWordArt="0" anchor="b" anchorCtr="0" forceAA="0" compatLnSpc="1">
            <a:prstTxWarp prst="textNoShape">
              <a:avLst/>
            </a:prstTxWarp>
            <a:noAutofit/>
          </a:bodyPr>
          <a:lstStyle/>
          <a:p>
            <a:r>
              <a:rPr lang="en-IE" sz="2400" dirty="0"/>
              <a:t>Priorities for methodological developments</a:t>
            </a:r>
            <a:endParaRPr lang="en-US" sz="2400" dirty="0"/>
          </a:p>
        </p:txBody>
      </p:sp>
      <p:sp>
        <p:nvSpPr>
          <p:cNvPr id="30" name="Freeform: Shape 29">
            <a:extLst>
              <a:ext uri="{FF2B5EF4-FFF2-40B4-BE49-F238E27FC236}">
                <a16:creationId xmlns:a16="http://schemas.microsoft.com/office/drawing/2014/main" id="{6271EF87-71DD-463E-8777-DE9D77BCC473}"/>
              </a:ext>
            </a:extLst>
          </p:cNvPr>
          <p:cNvSpPr>
            <a:spLocks noChangeAspect="1"/>
          </p:cNvSpPr>
          <p:nvPr/>
        </p:nvSpPr>
        <p:spPr bwMode="gray">
          <a:xfrm>
            <a:off x="494406" y="3278823"/>
            <a:ext cx="466725" cy="466725"/>
          </a:xfrm>
          <a:custGeom>
            <a:avLst/>
            <a:gdLst>
              <a:gd name="connsiteX0" fmla="*/ 270320 w 466725"/>
              <a:gd name="connsiteY0" fmla="*/ 325184 h 466725"/>
              <a:gd name="connsiteX1" fmla="*/ 297275 w 466725"/>
              <a:gd name="connsiteY1" fmla="*/ 352139 h 466725"/>
              <a:gd name="connsiteX2" fmla="*/ 221837 w 466725"/>
              <a:gd name="connsiteY2" fmla="*/ 427577 h 466725"/>
              <a:gd name="connsiteX3" fmla="*/ 132874 w 466725"/>
              <a:gd name="connsiteY3" fmla="*/ 464344 h 466725"/>
              <a:gd name="connsiteX4" fmla="*/ 44006 w 466725"/>
              <a:gd name="connsiteY4" fmla="*/ 427482 h 466725"/>
              <a:gd name="connsiteX5" fmla="*/ 7144 w 466725"/>
              <a:gd name="connsiteY5" fmla="*/ 338614 h 466725"/>
              <a:gd name="connsiteX6" fmla="*/ 44006 w 466725"/>
              <a:gd name="connsiteY6" fmla="*/ 249746 h 466725"/>
              <a:gd name="connsiteX7" fmla="*/ 119444 w 466725"/>
              <a:gd name="connsiteY7" fmla="*/ 174308 h 466725"/>
              <a:gd name="connsiteX8" fmla="*/ 146399 w 466725"/>
              <a:gd name="connsiteY8" fmla="*/ 201263 h 466725"/>
              <a:gd name="connsiteX9" fmla="*/ 70961 w 466725"/>
              <a:gd name="connsiteY9" fmla="*/ 276701 h 466725"/>
              <a:gd name="connsiteX10" fmla="*/ 45244 w 466725"/>
              <a:gd name="connsiteY10" fmla="*/ 338614 h 466725"/>
              <a:gd name="connsiteX11" fmla="*/ 70866 w 466725"/>
              <a:gd name="connsiteY11" fmla="*/ 400622 h 466725"/>
              <a:gd name="connsiteX12" fmla="*/ 132874 w 466725"/>
              <a:gd name="connsiteY12" fmla="*/ 426244 h 466725"/>
              <a:gd name="connsiteX13" fmla="*/ 194881 w 466725"/>
              <a:gd name="connsiteY13" fmla="*/ 400622 h 466725"/>
              <a:gd name="connsiteX14" fmla="*/ 270320 w 466725"/>
              <a:gd name="connsiteY14" fmla="*/ 325184 h 466725"/>
              <a:gd name="connsiteX15" fmla="*/ 427482 w 466725"/>
              <a:gd name="connsiteY15" fmla="*/ 44006 h 466725"/>
              <a:gd name="connsiteX16" fmla="*/ 338614 w 466725"/>
              <a:gd name="connsiteY16" fmla="*/ 7144 h 466725"/>
              <a:gd name="connsiteX17" fmla="*/ 249746 w 466725"/>
              <a:gd name="connsiteY17" fmla="*/ 44006 h 466725"/>
              <a:gd name="connsiteX18" fmla="*/ 174308 w 466725"/>
              <a:gd name="connsiteY18" fmla="*/ 119444 h 466725"/>
              <a:gd name="connsiteX19" fmla="*/ 201263 w 466725"/>
              <a:gd name="connsiteY19" fmla="*/ 146399 h 466725"/>
              <a:gd name="connsiteX20" fmla="*/ 276701 w 466725"/>
              <a:gd name="connsiteY20" fmla="*/ 70961 h 466725"/>
              <a:gd name="connsiteX21" fmla="*/ 338614 w 466725"/>
              <a:gd name="connsiteY21" fmla="*/ 45244 h 466725"/>
              <a:gd name="connsiteX22" fmla="*/ 400622 w 466725"/>
              <a:gd name="connsiteY22" fmla="*/ 70866 h 466725"/>
              <a:gd name="connsiteX23" fmla="*/ 426244 w 466725"/>
              <a:gd name="connsiteY23" fmla="*/ 132874 h 466725"/>
              <a:gd name="connsiteX24" fmla="*/ 400622 w 466725"/>
              <a:gd name="connsiteY24" fmla="*/ 194881 h 466725"/>
              <a:gd name="connsiteX25" fmla="*/ 325184 w 466725"/>
              <a:gd name="connsiteY25" fmla="*/ 270320 h 466725"/>
              <a:gd name="connsiteX26" fmla="*/ 352139 w 466725"/>
              <a:gd name="connsiteY26" fmla="*/ 297275 h 466725"/>
              <a:gd name="connsiteX27" fmla="*/ 427577 w 466725"/>
              <a:gd name="connsiteY27" fmla="*/ 221837 h 466725"/>
              <a:gd name="connsiteX28" fmla="*/ 464344 w 466725"/>
              <a:gd name="connsiteY28" fmla="*/ 132874 h 466725"/>
              <a:gd name="connsiteX29" fmla="*/ 427482 w 466725"/>
              <a:gd name="connsiteY29" fmla="*/ 44006 h 466725"/>
              <a:gd name="connsiteX30" fmla="*/ 345186 w 466725"/>
              <a:gd name="connsiteY30" fmla="*/ 153162 h 466725"/>
              <a:gd name="connsiteX31" fmla="*/ 318230 w 466725"/>
              <a:gd name="connsiteY31" fmla="*/ 126206 h 466725"/>
              <a:gd name="connsiteX32" fmla="*/ 126302 w 466725"/>
              <a:gd name="connsiteY32" fmla="*/ 318325 h 466725"/>
              <a:gd name="connsiteX33" fmla="*/ 153257 w 466725"/>
              <a:gd name="connsiteY33" fmla="*/ 345281 h 466725"/>
              <a:gd name="connsiteX34" fmla="*/ 345186 w 466725"/>
              <a:gd name="connsiteY34" fmla="*/ 153162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466725" h="466725">
                <a:moveTo>
                  <a:pt x="270320" y="325184"/>
                </a:moveTo>
                <a:lnTo>
                  <a:pt x="297275" y="352139"/>
                </a:lnTo>
                <a:lnTo>
                  <a:pt x="221837" y="427577"/>
                </a:lnTo>
                <a:cubicBezTo>
                  <a:pt x="198025" y="451295"/>
                  <a:pt x="166497" y="464344"/>
                  <a:pt x="132874" y="464344"/>
                </a:cubicBezTo>
                <a:cubicBezTo>
                  <a:pt x="99251" y="464344"/>
                  <a:pt x="67723" y="451295"/>
                  <a:pt x="44006" y="427482"/>
                </a:cubicBezTo>
                <a:cubicBezTo>
                  <a:pt x="20193" y="403765"/>
                  <a:pt x="7144" y="372237"/>
                  <a:pt x="7144" y="338614"/>
                </a:cubicBezTo>
                <a:cubicBezTo>
                  <a:pt x="7144" y="304991"/>
                  <a:pt x="20193" y="273463"/>
                  <a:pt x="44006" y="249746"/>
                </a:cubicBezTo>
                <a:lnTo>
                  <a:pt x="119444" y="174308"/>
                </a:lnTo>
                <a:lnTo>
                  <a:pt x="146399" y="201263"/>
                </a:lnTo>
                <a:lnTo>
                  <a:pt x="70961" y="276701"/>
                </a:lnTo>
                <a:cubicBezTo>
                  <a:pt x="54388" y="293180"/>
                  <a:pt x="45244" y="315182"/>
                  <a:pt x="45244" y="338614"/>
                </a:cubicBezTo>
                <a:cubicBezTo>
                  <a:pt x="45244" y="362045"/>
                  <a:pt x="54388" y="384048"/>
                  <a:pt x="70866" y="400622"/>
                </a:cubicBezTo>
                <a:cubicBezTo>
                  <a:pt x="87440" y="417100"/>
                  <a:pt x="109442" y="426244"/>
                  <a:pt x="132874" y="426244"/>
                </a:cubicBezTo>
                <a:cubicBezTo>
                  <a:pt x="156305" y="426244"/>
                  <a:pt x="178308" y="417100"/>
                  <a:pt x="194881" y="400622"/>
                </a:cubicBezTo>
                <a:lnTo>
                  <a:pt x="270320" y="325184"/>
                </a:lnTo>
                <a:close/>
                <a:moveTo>
                  <a:pt x="427482" y="44006"/>
                </a:moveTo>
                <a:cubicBezTo>
                  <a:pt x="403765" y="20193"/>
                  <a:pt x="372237" y="7144"/>
                  <a:pt x="338614" y="7144"/>
                </a:cubicBezTo>
                <a:cubicBezTo>
                  <a:pt x="304991" y="7144"/>
                  <a:pt x="273463" y="20193"/>
                  <a:pt x="249746" y="44006"/>
                </a:cubicBezTo>
                <a:lnTo>
                  <a:pt x="174308" y="119444"/>
                </a:lnTo>
                <a:lnTo>
                  <a:pt x="201263" y="146399"/>
                </a:lnTo>
                <a:lnTo>
                  <a:pt x="276701" y="70961"/>
                </a:lnTo>
                <a:cubicBezTo>
                  <a:pt x="293180" y="54388"/>
                  <a:pt x="315182" y="45244"/>
                  <a:pt x="338614" y="45244"/>
                </a:cubicBezTo>
                <a:cubicBezTo>
                  <a:pt x="362045" y="45244"/>
                  <a:pt x="384048" y="54388"/>
                  <a:pt x="400622" y="70866"/>
                </a:cubicBezTo>
                <a:cubicBezTo>
                  <a:pt x="417100" y="87440"/>
                  <a:pt x="426244" y="109442"/>
                  <a:pt x="426244" y="132874"/>
                </a:cubicBezTo>
                <a:cubicBezTo>
                  <a:pt x="426244" y="156305"/>
                  <a:pt x="417100" y="178308"/>
                  <a:pt x="400622" y="194881"/>
                </a:cubicBezTo>
                <a:lnTo>
                  <a:pt x="325184" y="270320"/>
                </a:lnTo>
                <a:lnTo>
                  <a:pt x="352139" y="297275"/>
                </a:lnTo>
                <a:lnTo>
                  <a:pt x="427577" y="221837"/>
                </a:lnTo>
                <a:cubicBezTo>
                  <a:pt x="451295" y="198025"/>
                  <a:pt x="464344" y="166497"/>
                  <a:pt x="464344" y="132874"/>
                </a:cubicBezTo>
                <a:cubicBezTo>
                  <a:pt x="464344" y="99251"/>
                  <a:pt x="451295" y="67723"/>
                  <a:pt x="427482" y="44006"/>
                </a:cubicBezTo>
                <a:close/>
                <a:moveTo>
                  <a:pt x="345186" y="153162"/>
                </a:moveTo>
                <a:lnTo>
                  <a:pt x="318230" y="126206"/>
                </a:lnTo>
                <a:lnTo>
                  <a:pt x="126302" y="318325"/>
                </a:lnTo>
                <a:lnTo>
                  <a:pt x="153257" y="345281"/>
                </a:lnTo>
                <a:lnTo>
                  <a:pt x="345186" y="153162"/>
                </a:lnTo>
                <a:close/>
              </a:path>
            </a:pathLst>
          </a:custGeom>
          <a:solidFill>
            <a:srgbClr val="002856"/>
          </a:solidFill>
          <a:ln w="9525" cap="flat">
            <a:noFill/>
            <a:prstDash val="solid"/>
            <a:miter/>
          </a:ln>
        </p:spPr>
        <p:txBody>
          <a:bodyPr rtlCol="0" anchor="ctr"/>
          <a:lstStyle/>
          <a:p>
            <a:endParaRPr lang="en-US" dirty="0"/>
          </a:p>
        </p:txBody>
      </p:sp>
      <p:sp>
        <p:nvSpPr>
          <p:cNvPr id="23" name="Rectangle 22">
            <a:extLst>
              <a:ext uri="{FF2B5EF4-FFF2-40B4-BE49-F238E27FC236}">
                <a16:creationId xmlns:a16="http://schemas.microsoft.com/office/drawing/2014/main" id="{45066B29-9A69-47A1-BC25-69721D0F67B0}"/>
              </a:ext>
            </a:extLst>
          </p:cNvPr>
          <p:cNvSpPr/>
          <p:nvPr/>
        </p:nvSpPr>
        <p:spPr bwMode="gray">
          <a:xfrm>
            <a:off x="2354258" y="5096789"/>
            <a:ext cx="7772400" cy="5486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0" numCol="1" spcCol="0" rtlCol="0" fromWordArt="0" anchor="b" anchorCtr="0" forceAA="0" compatLnSpc="1">
            <a:prstTxWarp prst="textNoShape">
              <a:avLst/>
            </a:prstTxWarp>
            <a:noAutofit/>
          </a:bodyPr>
          <a:lstStyle/>
          <a:p>
            <a:r>
              <a:rPr lang="en-IE" sz="2400" dirty="0"/>
              <a:t>Collaboration and partnership</a:t>
            </a:r>
            <a:endParaRPr lang="en-US" sz="2400" dirty="0"/>
          </a:p>
        </p:txBody>
      </p:sp>
      <p:sp>
        <p:nvSpPr>
          <p:cNvPr id="24" name="Rectangle 23">
            <a:extLst>
              <a:ext uri="{FF2B5EF4-FFF2-40B4-BE49-F238E27FC236}">
                <a16:creationId xmlns:a16="http://schemas.microsoft.com/office/drawing/2014/main" id="{881C69F4-C3D4-4F66-8B71-093E6D7D93D3}"/>
              </a:ext>
            </a:extLst>
          </p:cNvPr>
          <p:cNvSpPr/>
          <p:nvPr/>
        </p:nvSpPr>
        <p:spPr bwMode="gray">
          <a:xfrm>
            <a:off x="1183670" y="5316817"/>
            <a:ext cx="670984" cy="296862"/>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3200" dirty="0">
                <a:solidFill>
                  <a:schemeClr val="tx2"/>
                </a:solidFill>
              </a:rPr>
              <a:t>0</a:t>
            </a:r>
            <a:r>
              <a:rPr lang="en-BE" sz="3200" dirty="0">
                <a:solidFill>
                  <a:schemeClr val="tx2"/>
                </a:solidFill>
              </a:rPr>
              <a:t>5</a:t>
            </a:r>
            <a:endParaRPr lang="en-US" sz="3200" dirty="0">
              <a:solidFill>
                <a:schemeClr val="tx2"/>
              </a:solidFill>
            </a:endParaRPr>
          </a:p>
        </p:txBody>
      </p:sp>
      <p:cxnSp>
        <p:nvCxnSpPr>
          <p:cNvPr id="25" name="Straight Connector 24">
            <a:extLst>
              <a:ext uri="{FF2B5EF4-FFF2-40B4-BE49-F238E27FC236}">
                <a16:creationId xmlns:a16="http://schemas.microsoft.com/office/drawing/2014/main" id="{D84AC9F5-EAE5-487B-A1C7-5C709AF18632}"/>
              </a:ext>
            </a:extLst>
          </p:cNvPr>
          <p:cNvCxnSpPr/>
          <p:nvPr/>
        </p:nvCxnSpPr>
        <p:spPr bwMode="gray">
          <a:xfrm rot="16200000">
            <a:off x="1856305" y="5339359"/>
            <a:ext cx="548640" cy="0"/>
          </a:xfrm>
          <a:prstGeom prst="line">
            <a:avLst/>
          </a:prstGeom>
          <a:solidFill>
            <a:srgbClr val="00529B"/>
          </a:solidFill>
          <a:ln w="28575" cap="flat" cmpd="sng" algn="ctr">
            <a:solidFill>
              <a:srgbClr val="009AD7"/>
            </a:solidFill>
            <a:prstDash val="solid"/>
            <a:round/>
            <a:headEnd type="none" w="med" len="med"/>
            <a:tailEnd type="none" w="lg" len="lg"/>
          </a:ln>
          <a:effectLst/>
        </p:spPr>
      </p:cxnSp>
      <p:sp>
        <p:nvSpPr>
          <p:cNvPr id="27" name="Freeform 523">
            <a:extLst>
              <a:ext uri="{FF2B5EF4-FFF2-40B4-BE49-F238E27FC236}">
                <a16:creationId xmlns:a16="http://schemas.microsoft.com/office/drawing/2014/main" id="{374FADDF-111F-4D4C-A71C-767F3D67D8D1}"/>
              </a:ext>
            </a:extLst>
          </p:cNvPr>
          <p:cNvSpPr>
            <a:spLocks noEditPoints="1"/>
          </p:cNvSpPr>
          <p:nvPr/>
        </p:nvSpPr>
        <p:spPr bwMode="gray">
          <a:xfrm>
            <a:off x="549623" y="5205691"/>
            <a:ext cx="649287" cy="439738"/>
          </a:xfrm>
          <a:custGeom>
            <a:avLst/>
            <a:gdLst>
              <a:gd name="T0" fmla="*/ 132 w 260"/>
              <a:gd name="T1" fmla="*/ 108 h 176"/>
              <a:gd name="T2" fmla="*/ 88 w 260"/>
              <a:gd name="T3" fmla="*/ 136 h 176"/>
              <a:gd name="T4" fmla="*/ 40 w 260"/>
              <a:gd name="T5" fmla="*/ 88 h 176"/>
              <a:gd name="T6" fmla="*/ 88 w 260"/>
              <a:gd name="T7" fmla="*/ 40 h 176"/>
              <a:gd name="T8" fmla="*/ 132 w 260"/>
              <a:gd name="T9" fmla="*/ 68 h 176"/>
              <a:gd name="T10" fmla="*/ 113 w 260"/>
              <a:gd name="T11" fmla="*/ 68 h 176"/>
              <a:gd name="T12" fmla="*/ 88 w 260"/>
              <a:gd name="T13" fmla="*/ 56 h 176"/>
              <a:gd name="T14" fmla="*/ 56 w 260"/>
              <a:gd name="T15" fmla="*/ 88 h 176"/>
              <a:gd name="T16" fmla="*/ 88 w 260"/>
              <a:gd name="T17" fmla="*/ 120 h 176"/>
              <a:gd name="T18" fmla="*/ 113 w 260"/>
              <a:gd name="T19" fmla="*/ 108 h 176"/>
              <a:gd name="T20" fmla="*/ 132 w 260"/>
              <a:gd name="T21" fmla="*/ 108 h 176"/>
              <a:gd name="T22" fmla="*/ 260 w 260"/>
              <a:gd name="T23" fmla="*/ 108 h 176"/>
              <a:gd name="T24" fmla="*/ 239 w 260"/>
              <a:gd name="T25" fmla="*/ 88 h 176"/>
              <a:gd name="T26" fmla="*/ 260 w 260"/>
              <a:gd name="T27" fmla="*/ 68 h 176"/>
              <a:gd name="T28" fmla="*/ 248 w 260"/>
              <a:gd name="T29" fmla="*/ 56 h 176"/>
              <a:gd name="T30" fmla="*/ 217 w 260"/>
              <a:gd name="T31" fmla="*/ 88 h 176"/>
              <a:gd name="T32" fmla="*/ 248 w 260"/>
              <a:gd name="T33" fmla="*/ 120 h 176"/>
              <a:gd name="T34" fmla="*/ 260 w 260"/>
              <a:gd name="T35" fmla="*/ 108 h 176"/>
              <a:gd name="T36" fmla="*/ 220 w 260"/>
              <a:gd name="T37" fmla="*/ 68 h 176"/>
              <a:gd name="T38" fmla="*/ 208 w 260"/>
              <a:gd name="T39" fmla="*/ 56 h 176"/>
              <a:gd name="T40" fmla="*/ 185 w 260"/>
              <a:gd name="T41" fmla="*/ 80 h 176"/>
              <a:gd name="T42" fmla="*/ 88 w 260"/>
              <a:gd name="T43" fmla="*/ 80 h 176"/>
              <a:gd name="T44" fmla="*/ 88 w 260"/>
              <a:gd name="T45" fmla="*/ 96 h 176"/>
              <a:gd name="T46" fmla="*/ 185 w 260"/>
              <a:gd name="T47" fmla="*/ 96 h 176"/>
              <a:gd name="T48" fmla="*/ 208 w 260"/>
              <a:gd name="T49" fmla="*/ 120 h 176"/>
              <a:gd name="T50" fmla="*/ 220 w 260"/>
              <a:gd name="T51" fmla="*/ 108 h 176"/>
              <a:gd name="T52" fmla="*/ 199 w 260"/>
              <a:gd name="T53" fmla="*/ 88 h 176"/>
              <a:gd name="T54" fmla="*/ 220 w 260"/>
              <a:gd name="T55" fmla="*/ 68 h 176"/>
              <a:gd name="T56" fmla="*/ 157 w 260"/>
              <a:gd name="T57" fmla="*/ 108 h 176"/>
              <a:gd name="T58" fmla="*/ 88 w 260"/>
              <a:gd name="T59" fmla="*/ 160 h 176"/>
              <a:gd name="T60" fmla="*/ 16 w 260"/>
              <a:gd name="T61" fmla="*/ 88 h 176"/>
              <a:gd name="T62" fmla="*/ 88 w 260"/>
              <a:gd name="T63" fmla="*/ 16 h 176"/>
              <a:gd name="T64" fmla="*/ 157 w 260"/>
              <a:gd name="T65" fmla="*/ 68 h 176"/>
              <a:gd name="T66" fmla="*/ 174 w 260"/>
              <a:gd name="T67" fmla="*/ 68 h 176"/>
              <a:gd name="T68" fmla="*/ 88 w 260"/>
              <a:gd name="T69" fmla="*/ 0 h 176"/>
              <a:gd name="T70" fmla="*/ 0 w 260"/>
              <a:gd name="T71" fmla="*/ 88 h 176"/>
              <a:gd name="T72" fmla="*/ 88 w 260"/>
              <a:gd name="T73" fmla="*/ 176 h 176"/>
              <a:gd name="T74" fmla="*/ 174 w 260"/>
              <a:gd name="T75" fmla="*/ 108 h 176"/>
              <a:gd name="T76" fmla="*/ 157 w 260"/>
              <a:gd name="T77" fmla="*/ 10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60" h="176">
                <a:moveTo>
                  <a:pt x="132" y="108"/>
                </a:moveTo>
                <a:cubicBezTo>
                  <a:pt x="124" y="125"/>
                  <a:pt x="108" y="136"/>
                  <a:pt x="88" y="136"/>
                </a:cubicBezTo>
                <a:cubicBezTo>
                  <a:pt x="61" y="136"/>
                  <a:pt x="40" y="115"/>
                  <a:pt x="40" y="88"/>
                </a:cubicBezTo>
                <a:cubicBezTo>
                  <a:pt x="40" y="61"/>
                  <a:pt x="61" y="40"/>
                  <a:pt x="88" y="40"/>
                </a:cubicBezTo>
                <a:cubicBezTo>
                  <a:pt x="108" y="40"/>
                  <a:pt x="124" y="51"/>
                  <a:pt x="132" y="68"/>
                </a:cubicBezTo>
                <a:cubicBezTo>
                  <a:pt x="113" y="68"/>
                  <a:pt x="113" y="68"/>
                  <a:pt x="113" y="68"/>
                </a:cubicBezTo>
                <a:cubicBezTo>
                  <a:pt x="108" y="60"/>
                  <a:pt x="98" y="56"/>
                  <a:pt x="88" y="56"/>
                </a:cubicBezTo>
                <a:cubicBezTo>
                  <a:pt x="70" y="56"/>
                  <a:pt x="56" y="70"/>
                  <a:pt x="56" y="88"/>
                </a:cubicBezTo>
                <a:cubicBezTo>
                  <a:pt x="56" y="106"/>
                  <a:pt x="70" y="120"/>
                  <a:pt x="88" y="120"/>
                </a:cubicBezTo>
                <a:cubicBezTo>
                  <a:pt x="98" y="120"/>
                  <a:pt x="108" y="116"/>
                  <a:pt x="113" y="108"/>
                </a:cubicBezTo>
                <a:lnTo>
                  <a:pt x="132" y="108"/>
                </a:lnTo>
                <a:close/>
                <a:moveTo>
                  <a:pt x="260" y="108"/>
                </a:moveTo>
                <a:cubicBezTo>
                  <a:pt x="239" y="88"/>
                  <a:pt x="239" y="88"/>
                  <a:pt x="239" y="88"/>
                </a:cubicBezTo>
                <a:cubicBezTo>
                  <a:pt x="260" y="68"/>
                  <a:pt x="260" y="68"/>
                  <a:pt x="260" y="68"/>
                </a:cubicBezTo>
                <a:cubicBezTo>
                  <a:pt x="248" y="56"/>
                  <a:pt x="248" y="56"/>
                  <a:pt x="248" y="56"/>
                </a:cubicBezTo>
                <a:cubicBezTo>
                  <a:pt x="217" y="88"/>
                  <a:pt x="217" y="88"/>
                  <a:pt x="217" y="88"/>
                </a:cubicBezTo>
                <a:cubicBezTo>
                  <a:pt x="248" y="120"/>
                  <a:pt x="248" y="120"/>
                  <a:pt x="248" y="120"/>
                </a:cubicBezTo>
                <a:lnTo>
                  <a:pt x="260" y="108"/>
                </a:lnTo>
                <a:close/>
                <a:moveTo>
                  <a:pt x="220" y="68"/>
                </a:moveTo>
                <a:cubicBezTo>
                  <a:pt x="208" y="56"/>
                  <a:pt x="208" y="56"/>
                  <a:pt x="208" y="56"/>
                </a:cubicBezTo>
                <a:cubicBezTo>
                  <a:pt x="185" y="80"/>
                  <a:pt x="185" y="80"/>
                  <a:pt x="185" y="80"/>
                </a:cubicBezTo>
                <a:cubicBezTo>
                  <a:pt x="88" y="80"/>
                  <a:pt x="88" y="80"/>
                  <a:pt x="88" y="80"/>
                </a:cubicBezTo>
                <a:cubicBezTo>
                  <a:pt x="88" y="96"/>
                  <a:pt x="88" y="96"/>
                  <a:pt x="88" y="96"/>
                </a:cubicBezTo>
                <a:cubicBezTo>
                  <a:pt x="185" y="96"/>
                  <a:pt x="185" y="96"/>
                  <a:pt x="185" y="96"/>
                </a:cubicBezTo>
                <a:cubicBezTo>
                  <a:pt x="208" y="120"/>
                  <a:pt x="208" y="120"/>
                  <a:pt x="208" y="120"/>
                </a:cubicBezTo>
                <a:cubicBezTo>
                  <a:pt x="220" y="108"/>
                  <a:pt x="220" y="108"/>
                  <a:pt x="220" y="108"/>
                </a:cubicBezTo>
                <a:cubicBezTo>
                  <a:pt x="199" y="88"/>
                  <a:pt x="199" y="88"/>
                  <a:pt x="199" y="88"/>
                </a:cubicBezTo>
                <a:lnTo>
                  <a:pt x="220" y="68"/>
                </a:lnTo>
                <a:close/>
                <a:moveTo>
                  <a:pt x="157" y="108"/>
                </a:moveTo>
                <a:cubicBezTo>
                  <a:pt x="148" y="138"/>
                  <a:pt x="121" y="160"/>
                  <a:pt x="88" y="160"/>
                </a:cubicBezTo>
                <a:cubicBezTo>
                  <a:pt x="48" y="160"/>
                  <a:pt x="16" y="128"/>
                  <a:pt x="16" y="88"/>
                </a:cubicBezTo>
                <a:cubicBezTo>
                  <a:pt x="16" y="48"/>
                  <a:pt x="48" y="16"/>
                  <a:pt x="88" y="16"/>
                </a:cubicBezTo>
                <a:cubicBezTo>
                  <a:pt x="121" y="16"/>
                  <a:pt x="148" y="38"/>
                  <a:pt x="157" y="68"/>
                </a:cubicBezTo>
                <a:cubicBezTo>
                  <a:pt x="174" y="68"/>
                  <a:pt x="174" y="68"/>
                  <a:pt x="174" y="68"/>
                </a:cubicBezTo>
                <a:cubicBezTo>
                  <a:pt x="165" y="29"/>
                  <a:pt x="130" y="0"/>
                  <a:pt x="88" y="0"/>
                </a:cubicBezTo>
                <a:cubicBezTo>
                  <a:pt x="39" y="0"/>
                  <a:pt x="0" y="39"/>
                  <a:pt x="0" y="88"/>
                </a:cubicBezTo>
                <a:cubicBezTo>
                  <a:pt x="0" y="137"/>
                  <a:pt x="39" y="176"/>
                  <a:pt x="88" y="176"/>
                </a:cubicBezTo>
                <a:cubicBezTo>
                  <a:pt x="130" y="176"/>
                  <a:pt x="165" y="147"/>
                  <a:pt x="174" y="108"/>
                </a:cubicBezTo>
                <a:lnTo>
                  <a:pt x="157" y="108"/>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1" name="Rectangle 20">
            <a:extLst>
              <a:ext uri="{FF2B5EF4-FFF2-40B4-BE49-F238E27FC236}">
                <a16:creationId xmlns:a16="http://schemas.microsoft.com/office/drawing/2014/main" id="{19A768E3-2A11-4677-8ECB-FD0E823CC414}"/>
              </a:ext>
            </a:extLst>
          </p:cNvPr>
          <p:cNvSpPr/>
          <p:nvPr/>
        </p:nvSpPr>
        <p:spPr bwMode="gray">
          <a:xfrm>
            <a:off x="2354258" y="1291202"/>
            <a:ext cx="7772400" cy="5486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0" numCol="1" spcCol="0" rtlCol="0" fromWordArt="0" anchor="b" anchorCtr="0" forceAA="0" compatLnSpc="1">
            <a:prstTxWarp prst="textNoShape">
              <a:avLst/>
            </a:prstTxWarp>
            <a:noAutofit/>
          </a:bodyPr>
          <a:lstStyle/>
          <a:p>
            <a:pPr algn="l"/>
            <a:r>
              <a:rPr lang="en-US" sz="2400" dirty="0" smtClean="0"/>
              <a:t>Introduction and context </a:t>
            </a:r>
            <a:endParaRPr lang="en-US" sz="2400" dirty="0"/>
          </a:p>
        </p:txBody>
      </p:sp>
      <p:sp>
        <p:nvSpPr>
          <p:cNvPr id="22" name="Rectangle 21">
            <a:extLst>
              <a:ext uri="{FF2B5EF4-FFF2-40B4-BE49-F238E27FC236}">
                <a16:creationId xmlns:a16="http://schemas.microsoft.com/office/drawing/2014/main" id="{16D87E3E-78DB-4B19-9767-B4A2C84884C3}"/>
              </a:ext>
            </a:extLst>
          </p:cNvPr>
          <p:cNvSpPr/>
          <p:nvPr/>
        </p:nvSpPr>
        <p:spPr bwMode="gray">
          <a:xfrm>
            <a:off x="1203990" y="1517580"/>
            <a:ext cx="670984" cy="296862"/>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l"/>
            <a:r>
              <a:rPr lang="en-US" sz="3200" dirty="0">
                <a:solidFill>
                  <a:schemeClr val="tx2"/>
                </a:solidFill>
              </a:rPr>
              <a:t>01</a:t>
            </a:r>
            <a:endParaRPr lang="en-US" sz="1500" dirty="0">
              <a:solidFill>
                <a:schemeClr val="tx2"/>
              </a:solidFill>
            </a:endParaRPr>
          </a:p>
        </p:txBody>
      </p:sp>
      <p:cxnSp>
        <p:nvCxnSpPr>
          <p:cNvPr id="26" name="Straight Connector 25">
            <a:extLst>
              <a:ext uri="{FF2B5EF4-FFF2-40B4-BE49-F238E27FC236}">
                <a16:creationId xmlns:a16="http://schemas.microsoft.com/office/drawing/2014/main" id="{D2B9CD01-F64E-42B7-8036-60BC1703B037}"/>
              </a:ext>
            </a:extLst>
          </p:cNvPr>
          <p:cNvCxnSpPr/>
          <p:nvPr/>
        </p:nvCxnSpPr>
        <p:spPr bwMode="gray">
          <a:xfrm rot="16200000">
            <a:off x="1856305" y="1540122"/>
            <a:ext cx="548640" cy="0"/>
          </a:xfrm>
          <a:prstGeom prst="line">
            <a:avLst/>
          </a:prstGeom>
          <a:solidFill>
            <a:srgbClr val="00529B"/>
          </a:solidFill>
          <a:ln w="28575" cap="flat" cmpd="sng" algn="ctr">
            <a:solidFill>
              <a:srgbClr val="009AD7"/>
            </a:solidFill>
            <a:prstDash val="solid"/>
            <a:round/>
            <a:headEnd type="none" w="med" len="med"/>
            <a:tailEnd type="none" w="lg" len="lg"/>
          </a:ln>
          <a:effectLst/>
        </p:spPr>
      </p:cxnSp>
      <p:sp>
        <p:nvSpPr>
          <p:cNvPr id="28" name="Freeform 545">
            <a:extLst>
              <a:ext uri="{FF2B5EF4-FFF2-40B4-BE49-F238E27FC236}">
                <a16:creationId xmlns:a16="http://schemas.microsoft.com/office/drawing/2014/main" id="{133D90A0-0A1C-406C-B013-24B80DE25B4A}"/>
              </a:ext>
            </a:extLst>
          </p:cNvPr>
          <p:cNvSpPr>
            <a:spLocks noEditPoints="1"/>
          </p:cNvSpPr>
          <p:nvPr/>
        </p:nvSpPr>
        <p:spPr bwMode="gray">
          <a:xfrm>
            <a:off x="510782" y="1464239"/>
            <a:ext cx="484187" cy="439738"/>
          </a:xfrm>
          <a:custGeom>
            <a:avLst/>
            <a:gdLst>
              <a:gd name="T0" fmla="*/ 252 w 305"/>
              <a:gd name="T1" fmla="*/ 0 h 277"/>
              <a:gd name="T2" fmla="*/ 207 w 305"/>
              <a:gd name="T3" fmla="*/ 44 h 277"/>
              <a:gd name="T4" fmla="*/ 207 w 305"/>
              <a:gd name="T5" fmla="*/ 0 h 277"/>
              <a:gd name="T6" fmla="*/ 0 w 305"/>
              <a:gd name="T7" fmla="*/ 0 h 277"/>
              <a:gd name="T8" fmla="*/ 0 w 305"/>
              <a:gd name="T9" fmla="*/ 277 h 277"/>
              <a:gd name="T10" fmla="*/ 207 w 305"/>
              <a:gd name="T11" fmla="*/ 277 h 277"/>
              <a:gd name="T12" fmla="*/ 207 w 305"/>
              <a:gd name="T13" fmla="*/ 151 h 277"/>
              <a:gd name="T14" fmla="*/ 207 w 305"/>
              <a:gd name="T15" fmla="*/ 151 h 277"/>
              <a:gd name="T16" fmla="*/ 305 w 305"/>
              <a:gd name="T17" fmla="*/ 53 h 277"/>
              <a:gd name="T18" fmla="*/ 252 w 305"/>
              <a:gd name="T19" fmla="*/ 0 h 277"/>
              <a:gd name="T20" fmla="*/ 269 w 305"/>
              <a:gd name="T21" fmla="*/ 53 h 277"/>
              <a:gd name="T22" fmla="*/ 248 w 305"/>
              <a:gd name="T23" fmla="*/ 74 h 277"/>
              <a:gd name="T24" fmla="*/ 231 w 305"/>
              <a:gd name="T25" fmla="*/ 57 h 277"/>
              <a:gd name="T26" fmla="*/ 252 w 305"/>
              <a:gd name="T27" fmla="*/ 36 h 277"/>
              <a:gd name="T28" fmla="*/ 269 w 305"/>
              <a:gd name="T29" fmla="*/ 53 h 277"/>
              <a:gd name="T30" fmla="*/ 149 w 305"/>
              <a:gd name="T31" fmla="*/ 173 h 277"/>
              <a:gd name="T32" fmla="*/ 132 w 305"/>
              <a:gd name="T33" fmla="*/ 156 h 277"/>
              <a:gd name="T34" fmla="*/ 212 w 305"/>
              <a:gd name="T35" fmla="*/ 74 h 277"/>
              <a:gd name="T36" fmla="*/ 231 w 305"/>
              <a:gd name="T37" fmla="*/ 91 h 277"/>
              <a:gd name="T38" fmla="*/ 149 w 305"/>
              <a:gd name="T39" fmla="*/ 173 h 277"/>
              <a:gd name="T40" fmla="*/ 182 w 305"/>
              <a:gd name="T41" fmla="*/ 252 h 277"/>
              <a:gd name="T42" fmla="*/ 25 w 305"/>
              <a:gd name="T43" fmla="*/ 252 h 277"/>
              <a:gd name="T44" fmla="*/ 25 w 305"/>
              <a:gd name="T45" fmla="*/ 25 h 277"/>
              <a:gd name="T46" fmla="*/ 182 w 305"/>
              <a:gd name="T47" fmla="*/ 25 h 277"/>
              <a:gd name="T48" fmla="*/ 182 w 305"/>
              <a:gd name="T49" fmla="*/ 69 h 277"/>
              <a:gd name="T50" fmla="*/ 108 w 305"/>
              <a:gd name="T51" fmla="*/ 142 h 277"/>
              <a:gd name="T52" fmla="*/ 81 w 305"/>
              <a:gd name="T53" fmla="*/ 222 h 277"/>
              <a:gd name="T54" fmla="*/ 162 w 305"/>
              <a:gd name="T55" fmla="*/ 195 h 277"/>
              <a:gd name="T56" fmla="*/ 182 w 305"/>
              <a:gd name="T57" fmla="*/ 176 h 277"/>
              <a:gd name="T58" fmla="*/ 182 w 305"/>
              <a:gd name="T59" fmla="*/ 252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05" h="277">
                <a:moveTo>
                  <a:pt x="252" y="0"/>
                </a:moveTo>
                <a:lnTo>
                  <a:pt x="207" y="44"/>
                </a:lnTo>
                <a:lnTo>
                  <a:pt x="207" y="0"/>
                </a:lnTo>
                <a:lnTo>
                  <a:pt x="0" y="0"/>
                </a:lnTo>
                <a:lnTo>
                  <a:pt x="0" y="277"/>
                </a:lnTo>
                <a:lnTo>
                  <a:pt x="207" y="277"/>
                </a:lnTo>
                <a:lnTo>
                  <a:pt x="207" y="151"/>
                </a:lnTo>
                <a:lnTo>
                  <a:pt x="207" y="151"/>
                </a:lnTo>
                <a:lnTo>
                  <a:pt x="305" y="53"/>
                </a:lnTo>
                <a:lnTo>
                  <a:pt x="252" y="0"/>
                </a:lnTo>
                <a:close/>
                <a:moveTo>
                  <a:pt x="269" y="53"/>
                </a:moveTo>
                <a:lnTo>
                  <a:pt x="248" y="74"/>
                </a:lnTo>
                <a:lnTo>
                  <a:pt x="231" y="57"/>
                </a:lnTo>
                <a:lnTo>
                  <a:pt x="252" y="36"/>
                </a:lnTo>
                <a:lnTo>
                  <a:pt x="269" y="53"/>
                </a:lnTo>
                <a:close/>
                <a:moveTo>
                  <a:pt x="149" y="173"/>
                </a:moveTo>
                <a:lnTo>
                  <a:pt x="132" y="156"/>
                </a:lnTo>
                <a:lnTo>
                  <a:pt x="212" y="74"/>
                </a:lnTo>
                <a:lnTo>
                  <a:pt x="231" y="91"/>
                </a:lnTo>
                <a:lnTo>
                  <a:pt x="149" y="173"/>
                </a:lnTo>
                <a:close/>
                <a:moveTo>
                  <a:pt x="182" y="252"/>
                </a:moveTo>
                <a:lnTo>
                  <a:pt x="25" y="252"/>
                </a:lnTo>
                <a:lnTo>
                  <a:pt x="25" y="25"/>
                </a:lnTo>
                <a:lnTo>
                  <a:pt x="182" y="25"/>
                </a:lnTo>
                <a:lnTo>
                  <a:pt x="182" y="69"/>
                </a:lnTo>
                <a:lnTo>
                  <a:pt x="108" y="142"/>
                </a:lnTo>
                <a:lnTo>
                  <a:pt x="81" y="222"/>
                </a:lnTo>
                <a:lnTo>
                  <a:pt x="162" y="195"/>
                </a:lnTo>
                <a:lnTo>
                  <a:pt x="182" y="176"/>
                </a:lnTo>
                <a:lnTo>
                  <a:pt x="182" y="252"/>
                </a:ln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
        <p:nvSpPr>
          <p:cNvPr id="29" name="Freeform 13">
            <a:extLst>
              <a:ext uri="{FF2B5EF4-FFF2-40B4-BE49-F238E27FC236}">
                <a16:creationId xmlns:a16="http://schemas.microsoft.com/office/drawing/2014/main" id="{917A70AE-C1BB-4509-892D-5B48F79F49CF}"/>
              </a:ext>
            </a:extLst>
          </p:cNvPr>
          <p:cNvSpPr>
            <a:spLocks noChangeAspect="1" noEditPoints="1"/>
          </p:cNvSpPr>
          <p:nvPr/>
        </p:nvSpPr>
        <p:spPr bwMode="gray">
          <a:xfrm>
            <a:off x="523748" y="2358402"/>
            <a:ext cx="458254" cy="457401"/>
          </a:xfrm>
          <a:custGeom>
            <a:avLst/>
            <a:gdLst>
              <a:gd name="T0" fmla="*/ 0 w 537"/>
              <a:gd name="T1" fmla="*/ 0 h 536"/>
              <a:gd name="T2" fmla="*/ 0 w 537"/>
              <a:gd name="T3" fmla="*/ 536 h 536"/>
              <a:gd name="T4" fmla="*/ 537 w 537"/>
              <a:gd name="T5" fmla="*/ 536 h 536"/>
              <a:gd name="T6" fmla="*/ 537 w 537"/>
              <a:gd name="T7" fmla="*/ 0 h 536"/>
              <a:gd name="T8" fmla="*/ 0 w 537"/>
              <a:gd name="T9" fmla="*/ 0 h 536"/>
              <a:gd name="T10" fmla="*/ 38 w 537"/>
              <a:gd name="T11" fmla="*/ 38 h 536"/>
              <a:gd name="T12" fmla="*/ 249 w 537"/>
              <a:gd name="T13" fmla="*/ 38 h 536"/>
              <a:gd name="T14" fmla="*/ 249 w 537"/>
              <a:gd name="T15" fmla="*/ 249 h 536"/>
              <a:gd name="T16" fmla="*/ 38 w 537"/>
              <a:gd name="T17" fmla="*/ 249 h 536"/>
              <a:gd name="T18" fmla="*/ 38 w 537"/>
              <a:gd name="T19" fmla="*/ 38 h 536"/>
              <a:gd name="T20" fmla="*/ 38 w 537"/>
              <a:gd name="T21" fmla="*/ 497 h 536"/>
              <a:gd name="T22" fmla="*/ 38 w 537"/>
              <a:gd name="T23" fmla="*/ 287 h 536"/>
              <a:gd name="T24" fmla="*/ 249 w 537"/>
              <a:gd name="T25" fmla="*/ 287 h 536"/>
              <a:gd name="T26" fmla="*/ 249 w 537"/>
              <a:gd name="T27" fmla="*/ 497 h 536"/>
              <a:gd name="T28" fmla="*/ 38 w 537"/>
              <a:gd name="T29" fmla="*/ 497 h 536"/>
              <a:gd name="T30" fmla="*/ 498 w 537"/>
              <a:gd name="T31" fmla="*/ 497 h 536"/>
              <a:gd name="T32" fmla="*/ 287 w 537"/>
              <a:gd name="T33" fmla="*/ 497 h 536"/>
              <a:gd name="T34" fmla="*/ 287 w 537"/>
              <a:gd name="T35" fmla="*/ 287 h 536"/>
              <a:gd name="T36" fmla="*/ 498 w 537"/>
              <a:gd name="T37" fmla="*/ 287 h 536"/>
              <a:gd name="T38" fmla="*/ 498 w 537"/>
              <a:gd name="T39" fmla="*/ 497 h 536"/>
              <a:gd name="T40" fmla="*/ 498 w 537"/>
              <a:gd name="T41" fmla="*/ 249 h 536"/>
              <a:gd name="T42" fmla="*/ 287 w 537"/>
              <a:gd name="T43" fmla="*/ 249 h 536"/>
              <a:gd name="T44" fmla="*/ 287 w 537"/>
              <a:gd name="T45" fmla="*/ 38 h 536"/>
              <a:gd name="T46" fmla="*/ 498 w 537"/>
              <a:gd name="T47" fmla="*/ 38 h 536"/>
              <a:gd name="T48" fmla="*/ 498 w 537"/>
              <a:gd name="T49" fmla="*/ 249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37" h="536">
                <a:moveTo>
                  <a:pt x="0" y="0"/>
                </a:moveTo>
                <a:lnTo>
                  <a:pt x="0" y="536"/>
                </a:lnTo>
                <a:lnTo>
                  <a:pt x="537" y="536"/>
                </a:lnTo>
                <a:lnTo>
                  <a:pt x="537" y="0"/>
                </a:lnTo>
                <a:lnTo>
                  <a:pt x="0" y="0"/>
                </a:lnTo>
                <a:close/>
                <a:moveTo>
                  <a:pt x="38" y="38"/>
                </a:moveTo>
                <a:lnTo>
                  <a:pt x="249" y="38"/>
                </a:lnTo>
                <a:lnTo>
                  <a:pt x="249" y="249"/>
                </a:lnTo>
                <a:lnTo>
                  <a:pt x="38" y="249"/>
                </a:lnTo>
                <a:lnTo>
                  <a:pt x="38" y="38"/>
                </a:lnTo>
                <a:close/>
                <a:moveTo>
                  <a:pt x="38" y="497"/>
                </a:moveTo>
                <a:lnTo>
                  <a:pt x="38" y="287"/>
                </a:lnTo>
                <a:lnTo>
                  <a:pt x="249" y="287"/>
                </a:lnTo>
                <a:lnTo>
                  <a:pt x="249" y="497"/>
                </a:lnTo>
                <a:lnTo>
                  <a:pt x="38" y="497"/>
                </a:lnTo>
                <a:close/>
                <a:moveTo>
                  <a:pt x="498" y="497"/>
                </a:moveTo>
                <a:lnTo>
                  <a:pt x="287" y="497"/>
                </a:lnTo>
                <a:lnTo>
                  <a:pt x="287" y="287"/>
                </a:lnTo>
                <a:lnTo>
                  <a:pt x="498" y="287"/>
                </a:lnTo>
                <a:lnTo>
                  <a:pt x="498" y="497"/>
                </a:lnTo>
                <a:close/>
                <a:moveTo>
                  <a:pt x="498" y="249"/>
                </a:moveTo>
                <a:lnTo>
                  <a:pt x="287" y="249"/>
                </a:lnTo>
                <a:lnTo>
                  <a:pt x="287" y="38"/>
                </a:lnTo>
                <a:lnTo>
                  <a:pt x="498" y="38"/>
                </a:lnTo>
                <a:lnTo>
                  <a:pt x="498" y="24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45" name="Rectangle 44"/>
          <p:cNvSpPr/>
          <p:nvPr/>
        </p:nvSpPr>
        <p:spPr bwMode="gray">
          <a:xfrm>
            <a:off x="2379365" y="4174112"/>
            <a:ext cx="7772400" cy="548640"/>
          </a:xfrm>
          <a:prstGeom prst="rect">
            <a:avLst/>
          </a:prstGeom>
          <a:noFill/>
          <a:ln w="12700" cap="flat" cmpd="sng" algn="ctr">
            <a:noFill/>
            <a:prstDash val="solid"/>
            <a:round/>
            <a:headEnd type="none" w="med" len="med"/>
            <a:tailEnd type="none" w="med" len="med"/>
          </a:ln>
          <a:effectLst/>
        </p:spPr>
        <p:txBody>
          <a:bodyPr rot="0" spcFirstLastPara="0" vertOverflow="overflow" horzOverflow="overflow" vert="horz" wrap="none" lIns="91440" tIns="45720" rIns="91440" bIns="0" numCol="1" spcCol="0" rtlCol="0" fromWordArt="0" anchor="b" anchorCtr="0" forceAA="0" compatLnSpc="1">
            <a:prstTxWarp prst="textNoShape">
              <a:avLst/>
            </a:prstTxWarp>
            <a:noAutofit/>
          </a:bodyPr>
          <a:lstStyle/>
          <a:p>
            <a:r>
              <a:rPr lang="en-IE" sz="2400" dirty="0"/>
              <a:t>Eurostat’s role</a:t>
            </a:r>
            <a:endParaRPr lang="en-US" sz="2400" dirty="0"/>
          </a:p>
        </p:txBody>
      </p:sp>
      <p:sp>
        <p:nvSpPr>
          <p:cNvPr id="46" name="Freeform 420"/>
          <p:cNvSpPr>
            <a:spLocks noEditPoints="1"/>
          </p:cNvSpPr>
          <p:nvPr/>
        </p:nvSpPr>
        <p:spPr bwMode="gray">
          <a:xfrm>
            <a:off x="519513" y="4232997"/>
            <a:ext cx="516938" cy="516939"/>
          </a:xfrm>
          <a:custGeom>
            <a:avLst/>
            <a:gdLst>
              <a:gd name="T0" fmla="*/ 221 w 222"/>
              <a:gd name="T1" fmla="*/ 128 h 222"/>
              <a:gd name="T2" fmla="*/ 222 w 222"/>
              <a:gd name="T3" fmla="*/ 103 h 222"/>
              <a:gd name="T4" fmla="*/ 219 w 222"/>
              <a:gd name="T5" fmla="*/ 86 h 222"/>
              <a:gd name="T6" fmla="*/ 216 w 222"/>
              <a:gd name="T7" fmla="*/ 74 h 222"/>
              <a:gd name="T8" fmla="*/ 145 w 222"/>
              <a:gd name="T9" fmla="*/ 5 h 222"/>
              <a:gd name="T10" fmla="*/ 120 w 222"/>
              <a:gd name="T11" fmla="*/ 0 h 222"/>
              <a:gd name="T12" fmla="*/ 102 w 222"/>
              <a:gd name="T13" fmla="*/ 0 h 222"/>
              <a:gd name="T14" fmla="*/ 77 w 222"/>
              <a:gd name="T15" fmla="*/ 5 h 222"/>
              <a:gd name="T16" fmla="*/ 6 w 222"/>
              <a:gd name="T17" fmla="*/ 74 h 222"/>
              <a:gd name="T18" fmla="*/ 3 w 222"/>
              <a:gd name="T19" fmla="*/ 86 h 222"/>
              <a:gd name="T20" fmla="*/ 0 w 222"/>
              <a:gd name="T21" fmla="*/ 103 h 222"/>
              <a:gd name="T22" fmla="*/ 1 w 222"/>
              <a:gd name="T23" fmla="*/ 128 h 222"/>
              <a:gd name="T24" fmla="*/ 5 w 222"/>
              <a:gd name="T25" fmla="*/ 145 h 222"/>
              <a:gd name="T26" fmla="*/ 74 w 222"/>
              <a:gd name="T27" fmla="*/ 216 h 222"/>
              <a:gd name="T28" fmla="*/ 85 w 222"/>
              <a:gd name="T29" fmla="*/ 219 h 222"/>
              <a:gd name="T30" fmla="*/ 101 w 222"/>
              <a:gd name="T31" fmla="*/ 222 h 222"/>
              <a:gd name="T32" fmla="*/ 121 w 222"/>
              <a:gd name="T33" fmla="*/ 222 h 222"/>
              <a:gd name="T34" fmla="*/ 137 w 222"/>
              <a:gd name="T35" fmla="*/ 219 h 222"/>
              <a:gd name="T36" fmla="*/ 148 w 222"/>
              <a:gd name="T37" fmla="*/ 216 h 222"/>
              <a:gd name="T38" fmla="*/ 217 w 222"/>
              <a:gd name="T39" fmla="*/ 145 h 222"/>
              <a:gd name="T40" fmla="*/ 206 w 222"/>
              <a:gd name="T41" fmla="*/ 90 h 222"/>
              <a:gd name="T42" fmla="*/ 207 w 222"/>
              <a:gd name="T43" fmla="*/ 100 h 222"/>
              <a:gd name="T44" fmla="*/ 171 w 222"/>
              <a:gd name="T45" fmla="*/ 70 h 222"/>
              <a:gd name="T46" fmla="*/ 208 w 222"/>
              <a:gd name="T47" fmla="*/ 118 h 222"/>
              <a:gd name="T48" fmla="*/ 207 w 222"/>
              <a:gd name="T49" fmla="*/ 127 h 222"/>
              <a:gd name="T50" fmla="*/ 204 w 222"/>
              <a:gd name="T51" fmla="*/ 137 h 222"/>
              <a:gd name="T52" fmla="*/ 196 w 222"/>
              <a:gd name="T53" fmla="*/ 65 h 222"/>
              <a:gd name="T54" fmla="*/ 137 w 222"/>
              <a:gd name="T55" fmla="*/ 204 h 222"/>
              <a:gd name="T56" fmla="*/ 128 w 222"/>
              <a:gd name="T57" fmla="*/ 207 h 222"/>
              <a:gd name="T58" fmla="*/ 118 w 222"/>
              <a:gd name="T59" fmla="*/ 208 h 222"/>
              <a:gd name="T60" fmla="*/ 137 w 222"/>
              <a:gd name="T61" fmla="*/ 204 h 222"/>
              <a:gd name="T62" fmla="*/ 94 w 222"/>
              <a:gd name="T63" fmla="*/ 207 h 222"/>
              <a:gd name="T64" fmla="*/ 85 w 222"/>
              <a:gd name="T65" fmla="*/ 204 h 222"/>
              <a:gd name="T66" fmla="*/ 104 w 222"/>
              <a:gd name="T67" fmla="*/ 208 h 222"/>
              <a:gd name="T68" fmla="*/ 90 w 222"/>
              <a:gd name="T69" fmla="*/ 16 h 222"/>
              <a:gd name="T70" fmla="*/ 99 w 222"/>
              <a:gd name="T71" fmla="*/ 15 h 222"/>
              <a:gd name="T72" fmla="*/ 70 w 222"/>
              <a:gd name="T73" fmla="*/ 51 h 222"/>
              <a:gd name="T74" fmla="*/ 123 w 222"/>
              <a:gd name="T75" fmla="*/ 15 h 222"/>
              <a:gd name="T76" fmla="*/ 132 w 222"/>
              <a:gd name="T77" fmla="*/ 16 h 222"/>
              <a:gd name="T78" fmla="*/ 152 w 222"/>
              <a:gd name="T79" fmla="*/ 51 h 222"/>
              <a:gd name="T80" fmla="*/ 104 w 222"/>
              <a:gd name="T81" fmla="*/ 62 h 222"/>
              <a:gd name="T82" fmla="*/ 104 w 222"/>
              <a:gd name="T83" fmla="*/ 62 h 222"/>
              <a:gd name="T84" fmla="*/ 62 w 222"/>
              <a:gd name="T85" fmla="*/ 118 h 222"/>
              <a:gd name="T86" fmla="*/ 160 w 222"/>
              <a:gd name="T87" fmla="*/ 118 h 222"/>
              <a:gd name="T88" fmla="*/ 118 w 222"/>
              <a:gd name="T89" fmla="*/ 62 h 222"/>
              <a:gd name="T90" fmla="*/ 65 w 222"/>
              <a:gd name="T91" fmla="*/ 26 h 222"/>
              <a:gd name="T92" fmla="*/ 14 w 222"/>
              <a:gd name="T93" fmla="*/ 103 h 222"/>
              <a:gd name="T94" fmla="*/ 16 w 222"/>
              <a:gd name="T95" fmla="*/ 93 h 222"/>
              <a:gd name="T96" fmla="*/ 18 w 222"/>
              <a:gd name="T97" fmla="*/ 84 h 222"/>
              <a:gd name="T98" fmla="*/ 14 w 222"/>
              <a:gd name="T99" fmla="*/ 103 h 222"/>
              <a:gd name="T100" fmla="*/ 16 w 222"/>
              <a:gd name="T101" fmla="*/ 129 h 222"/>
              <a:gd name="T102" fmla="*/ 14 w 222"/>
              <a:gd name="T103" fmla="*/ 119 h 222"/>
              <a:gd name="T104" fmla="*/ 18 w 222"/>
              <a:gd name="T105" fmla="*/ 138 h 222"/>
              <a:gd name="T106" fmla="*/ 65 w 222"/>
              <a:gd name="T107" fmla="*/ 196 h 222"/>
              <a:gd name="T108" fmla="*/ 196 w 222"/>
              <a:gd name="T109" fmla="*/ 157 h 2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22" h="222">
                <a:moveTo>
                  <a:pt x="219" y="137"/>
                </a:moveTo>
                <a:cubicBezTo>
                  <a:pt x="219" y="137"/>
                  <a:pt x="219" y="136"/>
                  <a:pt x="219" y="136"/>
                </a:cubicBezTo>
                <a:cubicBezTo>
                  <a:pt x="220" y="134"/>
                  <a:pt x="220" y="131"/>
                  <a:pt x="221" y="129"/>
                </a:cubicBezTo>
                <a:cubicBezTo>
                  <a:pt x="221" y="128"/>
                  <a:pt x="221" y="128"/>
                  <a:pt x="221" y="128"/>
                </a:cubicBezTo>
                <a:cubicBezTo>
                  <a:pt x="221" y="126"/>
                  <a:pt x="221" y="123"/>
                  <a:pt x="222" y="121"/>
                </a:cubicBezTo>
                <a:cubicBezTo>
                  <a:pt x="222" y="120"/>
                  <a:pt x="222" y="119"/>
                  <a:pt x="222" y="119"/>
                </a:cubicBezTo>
                <a:cubicBezTo>
                  <a:pt x="222" y="116"/>
                  <a:pt x="222" y="114"/>
                  <a:pt x="222" y="111"/>
                </a:cubicBezTo>
                <a:cubicBezTo>
                  <a:pt x="222" y="108"/>
                  <a:pt x="222" y="106"/>
                  <a:pt x="222" y="103"/>
                </a:cubicBezTo>
                <a:cubicBezTo>
                  <a:pt x="222" y="103"/>
                  <a:pt x="222" y="102"/>
                  <a:pt x="222" y="101"/>
                </a:cubicBezTo>
                <a:cubicBezTo>
                  <a:pt x="221" y="99"/>
                  <a:pt x="221" y="96"/>
                  <a:pt x="221" y="94"/>
                </a:cubicBezTo>
                <a:cubicBezTo>
                  <a:pt x="221" y="94"/>
                  <a:pt x="221" y="94"/>
                  <a:pt x="221" y="93"/>
                </a:cubicBezTo>
                <a:cubicBezTo>
                  <a:pt x="220" y="91"/>
                  <a:pt x="220" y="88"/>
                  <a:pt x="219" y="86"/>
                </a:cubicBezTo>
                <a:cubicBezTo>
                  <a:pt x="219" y="85"/>
                  <a:pt x="219" y="85"/>
                  <a:pt x="219" y="85"/>
                </a:cubicBezTo>
                <a:cubicBezTo>
                  <a:pt x="218" y="82"/>
                  <a:pt x="218" y="80"/>
                  <a:pt x="217" y="77"/>
                </a:cubicBezTo>
                <a:cubicBezTo>
                  <a:pt x="217" y="77"/>
                  <a:pt x="217" y="77"/>
                  <a:pt x="217" y="77"/>
                </a:cubicBezTo>
                <a:cubicBezTo>
                  <a:pt x="216" y="74"/>
                  <a:pt x="216" y="74"/>
                  <a:pt x="216" y="74"/>
                </a:cubicBezTo>
                <a:cubicBezTo>
                  <a:pt x="216" y="74"/>
                  <a:pt x="216" y="74"/>
                  <a:pt x="216" y="74"/>
                </a:cubicBezTo>
                <a:cubicBezTo>
                  <a:pt x="205" y="43"/>
                  <a:pt x="179" y="17"/>
                  <a:pt x="148" y="6"/>
                </a:cubicBezTo>
                <a:cubicBezTo>
                  <a:pt x="148" y="6"/>
                  <a:pt x="148" y="6"/>
                  <a:pt x="148" y="6"/>
                </a:cubicBezTo>
                <a:cubicBezTo>
                  <a:pt x="145" y="5"/>
                  <a:pt x="145" y="5"/>
                  <a:pt x="145" y="5"/>
                </a:cubicBezTo>
                <a:cubicBezTo>
                  <a:pt x="145" y="5"/>
                  <a:pt x="145" y="5"/>
                  <a:pt x="145" y="5"/>
                </a:cubicBezTo>
                <a:cubicBezTo>
                  <a:pt x="142" y="4"/>
                  <a:pt x="140" y="4"/>
                  <a:pt x="137" y="3"/>
                </a:cubicBezTo>
                <a:cubicBezTo>
                  <a:pt x="137" y="3"/>
                  <a:pt x="137" y="3"/>
                  <a:pt x="136" y="3"/>
                </a:cubicBezTo>
                <a:cubicBezTo>
                  <a:pt x="131" y="2"/>
                  <a:pt x="125" y="1"/>
                  <a:pt x="120" y="0"/>
                </a:cubicBezTo>
                <a:cubicBezTo>
                  <a:pt x="120" y="0"/>
                  <a:pt x="120" y="0"/>
                  <a:pt x="119" y="0"/>
                </a:cubicBezTo>
                <a:cubicBezTo>
                  <a:pt x="117" y="0"/>
                  <a:pt x="114" y="0"/>
                  <a:pt x="111" y="0"/>
                </a:cubicBezTo>
                <a:cubicBezTo>
                  <a:pt x="108" y="0"/>
                  <a:pt x="105" y="0"/>
                  <a:pt x="103" y="0"/>
                </a:cubicBezTo>
                <a:cubicBezTo>
                  <a:pt x="102" y="0"/>
                  <a:pt x="102" y="0"/>
                  <a:pt x="102" y="0"/>
                </a:cubicBezTo>
                <a:cubicBezTo>
                  <a:pt x="97" y="1"/>
                  <a:pt x="91" y="2"/>
                  <a:pt x="86" y="3"/>
                </a:cubicBezTo>
                <a:cubicBezTo>
                  <a:pt x="85" y="3"/>
                  <a:pt x="85" y="3"/>
                  <a:pt x="85" y="3"/>
                </a:cubicBezTo>
                <a:cubicBezTo>
                  <a:pt x="82" y="4"/>
                  <a:pt x="80" y="4"/>
                  <a:pt x="77" y="5"/>
                </a:cubicBezTo>
                <a:cubicBezTo>
                  <a:pt x="77" y="5"/>
                  <a:pt x="77" y="5"/>
                  <a:pt x="77" y="5"/>
                </a:cubicBezTo>
                <a:cubicBezTo>
                  <a:pt x="74" y="6"/>
                  <a:pt x="74" y="6"/>
                  <a:pt x="74" y="6"/>
                </a:cubicBezTo>
                <a:cubicBezTo>
                  <a:pt x="74" y="6"/>
                  <a:pt x="74" y="6"/>
                  <a:pt x="74" y="6"/>
                </a:cubicBezTo>
                <a:cubicBezTo>
                  <a:pt x="43" y="17"/>
                  <a:pt x="17" y="43"/>
                  <a:pt x="6" y="74"/>
                </a:cubicBezTo>
                <a:cubicBezTo>
                  <a:pt x="6" y="74"/>
                  <a:pt x="6" y="74"/>
                  <a:pt x="6" y="74"/>
                </a:cubicBezTo>
                <a:cubicBezTo>
                  <a:pt x="5" y="77"/>
                  <a:pt x="5" y="77"/>
                  <a:pt x="5" y="77"/>
                </a:cubicBezTo>
                <a:cubicBezTo>
                  <a:pt x="5" y="77"/>
                  <a:pt x="5" y="77"/>
                  <a:pt x="5" y="77"/>
                </a:cubicBezTo>
                <a:cubicBezTo>
                  <a:pt x="4" y="80"/>
                  <a:pt x="4" y="82"/>
                  <a:pt x="3" y="85"/>
                </a:cubicBezTo>
                <a:cubicBezTo>
                  <a:pt x="3" y="85"/>
                  <a:pt x="3" y="85"/>
                  <a:pt x="3" y="86"/>
                </a:cubicBezTo>
                <a:cubicBezTo>
                  <a:pt x="2" y="88"/>
                  <a:pt x="2" y="91"/>
                  <a:pt x="1" y="93"/>
                </a:cubicBezTo>
                <a:cubicBezTo>
                  <a:pt x="1" y="94"/>
                  <a:pt x="1" y="94"/>
                  <a:pt x="1" y="94"/>
                </a:cubicBezTo>
                <a:cubicBezTo>
                  <a:pt x="1" y="96"/>
                  <a:pt x="1" y="99"/>
                  <a:pt x="0" y="101"/>
                </a:cubicBezTo>
                <a:cubicBezTo>
                  <a:pt x="0" y="102"/>
                  <a:pt x="0" y="103"/>
                  <a:pt x="0" y="103"/>
                </a:cubicBezTo>
                <a:cubicBezTo>
                  <a:pt x="0" y="106"/>
                  <a:pt x="0" y="108"/>
                  <a:pt x="0" y="111"/>
                </a:cubicBezTo>
                <a:cubicBezTo>
                  <a:pt x="0" y="114"/>
                  <a:pt x="0" y="116"/>
                  <a:pt x="0" y="119"/>
                </a:cubicBezTo>
                <a:cubicBezTo>
                  <a:pt x="0" y="119"/>
                  <a:pt x="0" y="120"/>
                  <a:pt x="0" y="121"/>
                </a:cubicBezTo>
                <a:cubicBezTo>
                  <a:pt x="1" y="123"/>
                  <a:pt x="1" y="126"/>
                  <a:pt x="1" y="128"/>
                </a:cubicBezTo>
                <a:cubicBezTo>
                  <a:pt x="1" y="128"/>
                  <a:pt x="1" y="128"/>
                  <a:pt x="1" y="129"/>
                </a:cubicBezTo>
                <a:cubicBezTo>
                  <a:pt x="2" y="131"/>
                  <a:pt x="2" y="134"/>
                  <a:pt x="3" y="136"/>
                </a:cubicBezTo>
                <a:cubicBezTo>
                  <a:pt x="3" y="137"/>
                  <a:pt x="3" y="137"/>
                  <a:pt x="3" y="137"/>
                </a:cubicBezTo>
                <a:cubicBezTo>
                  <a:pt x="4" y="140"/>
                  <a:pt x="4" y="142"/>
                  <a:pt x="5" y="145"/>
                </a:cubicBezTo>
                <a:cubicBezTo>
                  <a:pt x="5" y="145"/>
                  <a:pt x="5" y="145"/>
                  <a:pt x="5" y="145"/>
                </a:cubicBezTo>
                <a:cubicBezTo>
                  <a:pt x="6" y="148"/>
                  <a:pt x="6" y="148"/>
                  <a:pt x="6" y="148"/>
                </a:cubicBezTo>
                <a:cubicBezTo>
                  <a:pt x="6" y="148"/>
                  <a:pt x="6" y="148"/>
                  <a:pt x="6" y="148"/>
                </a:cubicBezTo>
                <a:cubicBezTo>
                  <a:pt x="17" y="179"/>
                  <a:pt x="43" y="205"/>
                  <a:pt x="74" y="216"/>
                </a:cubicBezTo>
                <a:cubicBezTo>
                  <a:pt x="74" y="216"/>
                  <a:pt x="74" y="216"/>
                  <a:pt x="74" y="216"/>
                </a:cubicBezTo>
                <a:cubicBezTo>
                  <a:pt x="77" y="217"/>
                  <a:pt x="77" y="217"/>
                  <a:pt x="77" y="217"/>
                </a:cubicBezTo>
                <a:cubicBezTo>
                  <a:pt x="77" y="217"/>
                  <a:pt x="77" y="217"/>
                  <a:pt x="77" y="217"/>
                </a:cubicBezTo>
                <a:cubicBezTo>
                  <a:pt x="80" y="218"/>
                  <a:pt x="82" y="218"/>
                  <a:pt x="85" y="219"/>
                </a:cubicBezTo>
                <a:cubicBezTo>
                  <a:pt x="85" y="219"/>
                  <a:pt x="85" y="219"/>
                  <a:pt x="86" y="219"/>
                </a:cubicBezTo>
                <a:cubicBezTo>
                  <a:pt x="88" y="220"/>
                  <a:pt x="91" y="220"/>
                  <a:pt x="93" y="221"/>
                </a:cubicBezTo>
                <a:cubicBezTo>
                  <a:pt x="94" y="221"/>
                  <a:pt x="94" y="221"/>
                  <a:pt x="94" y="221"/>
                </a:cubicBezTo>
                <a:cubicBezTo>
                  <a:pt x="96" y="221"/>
                  <a:pt x="99" y="221"/>
                  <a:pt x="101" y="222"/>
                </a:cubicBezTo>
                <a:cubicBezTo>
                  <a:pt x="102" y="222"/>
                  <a:pt x="103" y="222"/>
                  <a:pt x="103" y="222"/>
                </a:cubicBezTo>
                <a:cubicBezTo>
                  <a:pt x="106" y="222"/>
                  <a:pt x="108" y="222"/>
                  <a:pt x="111" y="222"/>
                </a:cubicBezTo>
                <a:cubicBezTo>
                  <a:pt x="114" y="222"/>
                  <a:pt x="116" y="222"/>
                  <a:pt x="119" y="222"/>
                </a:cubicBezTo>
                <a:cubicBezTo>
                  <a:pt x="119" y="222"/>
                  <a:pt x="120" y="222"/>
                  <a:pt x="121" y="222"/>
                </a:cubicBezTo>
                <a:cubicBezTo>
                  <a:pt x="123" y="221"/>
                  <a:pt x="126" y="221"/>
                  <a:pt x="128" y="221"/>
                </a:cubicBezTo>
                <a:cubicBezTo>
                  <a:pt x="128" y="221"/>
                  <a:pt x="128" y="221"/>
                  <a:pt x="129" y="221"/>
                </a:cubicBezTo>
                <a:cubicBezTo>
                  <a:pt x="131" y="220"/>
                  <a:pt x="134" y="220"/>
                  <a:pt x="136" y="219"/>
                </a:cubicBezTo>
                <a:cubicBezTo>
                  <a:pt x="137" y="219"/>
                  <a:pt x="137" y="219"/>
                  <a:pt x="137" y="219"/>
                </a:cubicBezTo>
                <a:cubicBezTo>
                  <a:pt x="140" y="218"/>
                  <a:pt x="142" y="218"/>
                  <a:pt x="145" y="217"/>
                </a:cubicBezTo>
                <a:cubicBezTo>
                  <a:pt x="145" y="217"/>
                  <a:pt x="145" y="217"/>
                  <a:pt x="145" y="217"/>
                </a:cubicBezTo>
                <a:cubicBezTo>
                  <a:pt x="148" y="216"/>
                  <a:pt x="148" y="216"/>
                  <a:pt x="148" y="216"/>
                </a:cubicBezTo>
                <a:cubicBezTo>
                  <a:pt x="148" y="216"/>
                  <a:pt x="148" y="216"/>
                  <a:pt x="148" y="216"/>
                </a:cubicBezTo>
                <a:cubicBezTo>
                  <a:pt x="179" y="205"/>
                  <a:pt x="205" y="179"/>
                  <a:pt x="216" y="148"/>
                </a:cubicBezTo>
                <a:cubicBezTo>
                  <a:pt x="216" y="148"/>
                  <a:pt x="216" y="148"/>
                  <a:pt x="216" y="148"/>
                </a:cubicBezTo>
                <a:cubicBezTo>
                  <a:pt x="217" y="145"/>
                  <a:pt x="217" y="145"/>
                  <a:pt x="217" y="145"/>
                </a:cubicBezTo>
                <a:cubicBezTo>
                  <a:pt x="217" y="145"/>
                  <a:pt x="217" y="145"/>
                  <a:pt x="217" y="145"/>
                </a:cubicBezTo>
                <a:cubicBezTo>
                  <a:pt x="218" y="142"/>
                  <a:pt x="218" y="140"/>
                  <a:pt x="219" y="137"/>
                </a:cubicBezTo>
                <a:moveTo>
                  <a:pt x="204" y="85"/>
                </a:moveTo>
                <a:cubicBezTo>
                  <a:pt x="205" y="86"/>
                  <a:pt x="205" y="87"/>
                  <a:pt x="205" y="88"/>
                </a:cubicBezTo>
                <a:cubicBezTo>
                  <a:pt x="205" y="89"/>
                  <a:pt x="205" y="89"/>
                  <a:pt x="206" y="90"/>
                </a:cubicBezTo>
                <a:cubicBezTo>
                  <a:pt x="206" y="91"/>
                  <a:pt x="206" y="92"/>
                  <a:pt x="206" y="93"/>
                </a:cubicBezTo>
                <a:cubicBezTo>
                  <a:pt x="206" y="94"/>
                  <a:pt x="207" y="94"/>
                  <a:pt x="207" y="95"/>
                </a:cubicBezTo>
                <a:cubicBezTo>
                  <a:pt x="207" y="96"/>
                  <a:pt x="207" y="97"/>
                  <a:pt x="207" y="98"/>
                </a:cubicBezTo>
                <a:cubicBezTo>
                  <a:pt x="207" y="98"/>
                  <a:pt x="207" y="99"/>
                  <a:pt x="207" y="100"/>
                </a:cubicBezTo>
                <a:cubicBezTo>
                  <a:pt x="207" y="101"/>
                  <a:pt x="208" y="102"/>
                  <a:pt x="208" y="103"/>
                </a:cubicBezTo>
                <a:cubicBezTo>
                  <a:pt x="208" y="103"/>
                  <a:pt x="208" y="104"/>
                  <a:pt x="208" y="104"/>
                </a:cubicBezTo>
                <a:cubicBezTo>
                  <a:pt x="174" y="104"/>
                  <a:pt x="174" y="104"/>
                  <a:pt x="174" y="104"/>
                </a:cubicBezTo>
                <a:cubicBezTo>
                  <a:pt x="173" y="92"/>
                  <a:pt x="172" y="81"/>
                  <a:pt x="171" y="70"/>
                </a:cubicBezTo>
                <a:cubicBezTo>
                  <a:pt x="182" y="74"/>
                  <a:pt x="193" y="78"/>
                  <a:pt x="204" y="84"/>
                </a:cubicBezTo>
                <a:cubicBezTo>
                  <a:pt x="204" y="84"/>
                  <a:pt x="204" y="85"/>
                  <a:pt x="204" y="85"/>
                </a:cubicBezTo>
                <a:moveTo>
                  <a:pt x="174" y="118"/>
                </a:moveTo>
                <a:cubicBezTo>
                  <a:pt x="208" y="118"/>
                  <a:pt x="208" y="118"/>
                  <a:pt x="208" y="118"/>
                </a:cubicBezTo>
                <a:cubicBezTo>
                  <a:pt x="208" y="118"/>
                  <a:pt x="208" y="119"/>
                  <a:pt x="208" y="119"/>
                </a:cubicBezTo>
                <a:cubicBezTo>
                  <a:pt x="208" y="120"/>
                  <a:pt x="207" y="121"/>
                  <a:pt x="207" y="122"/>
                </a:cubicBezTo>
                <a:cubicBezTo>
                  <a:pt x="207" y="123"/>
                  <a:pt x="207" y="124"/>
                  <a:pt x="207" y="124"/>
                </a:cubicBezTo>
                <a:cubicBezTo>
                  <a:pt x="207" y="125"/>
                  <a:pt x="207" y="126"/>
                  <a:pt x="207" y="127"/>
                </a:cubicBezTo>
                <a:cubicBezTo>
                  <a:pt x="207" y="128"/>
                  <a:pt x="206" y="128"/>
                  <a:pt x="206" y="129"/>
                </a:cubicBezTo>
                <a:cubicBezTo>
                  <a:pt x="206" y="130"/>
                  <a:pt x="206" y="131"/>
                  <a:pt x="206" y="132"/>
                </a:cubicBezTo>
                <a:cubicBezTo>
                  <a:pt x="205" y="133"/>
                  <a:pt x="205" y="133"/>
                  <a:pt x="205" y="134"/>
                </a:cubicBezTo>
                <a:cubicBezTo>
                  <a:pt x="205" y="135"/>
                  <a:pt x="205" y="136"/>
                  <a:pt x="204" y="137"/>
                </a:cubicBezTo>
                <a:cubicBezTo>
                  <a:pt x="204" y="137"/>
                  <a:pt x="204" y="138"/>
                  <a:pt x="204" y="138"/>
                </a:cubicBezTo>
                <a:cubicBezTo>
                  <a:pt x="193" y="144"/>
                  <a:pt x="182" y="148"/>
                  <a:pt x="171" y="152"/>
                </a:cubicBezTo>
                <a:cubicBezTo>
                  <a:pt x="172" y="141"/>
                  <a:pt x="173" y="130"/>
                  <a:pt x="174" y="118"/>
                </a:cubicBezTo>
                <a:moveTo>
                  <a:pt x="196" y="65"/>
                </a:moveTo>
                <a:cubicBezTo>
                  <a:pt x="187" y="61"/>
                  <a:pt x="177" y="57"/>
                  <a:pt x="167" y="55"/>
                </a:cubicBezTo>
                <a:cubicBezTo>
                  <a:pt x="165" y="45"/>
                  <a:pt x="161" y="35"/>
                  <a:pt x="157" y="26"/>
                </a:cubicBezTo>
                <a:cubicBezTo>
                  <a:pt x="174" y="35"/>
                  <a:pt x="187" y="48"/>
                  <a:pt x="196" y="65"/>
                </a:cubicBezTo>
                <a:moveTo>
                  <a:pt x="137" y="204"/>
                </a:moveTo>
                <a:cubicBezTo>
                  <a:pt x="136" y="205"/>
                  <a:pt x="135" y="205"/>
                  <a:pt x="134" y="205"/>
                </a:cubicBezTo>
                <a:cubicBezTo>
                  <a:pt x="133" y="205"/>
                  <a:pt x="133" y="205"/>
                  <a:pt x="132" y="206"/>
                </a:cubicBezTo>
                <a:cubicBezTo>
                  <a:pt x="131" y="206"/>
                  <a:pt x="130" y="206"/>
                  <a:pt x="129" y="206"/>
                </a:cubicBezTo>
                <a:cubicBezTo>
                  <a:pt x="128" y="206"/>
                  <a:pt x="128" y="206"/>
                  <a:pt x="128" y="207"/>
                </a:cubicBezTo>
                <a:cubicBezTo>
                  <a:pt x="126" y="207"/>
                  <a:pt x="125" y="207"/>
                  <a:pt x="124" y="207"/>
                </a:cubicBezTo>
                <a:cubicBezTo>
                  <a:pt x="123" y="207"/>
                  <a:pt x="123" y="207"/>
                  <a:pt x="123" y="207"/>
                </a:cubicBezTo>
                <a:cubicBezTo>
                  <a:pt x="121" y="207"/>
                  <a:pt x="120" y="208"/>
                  <a:pt x="119" y="208"/>
                </a:cubicBezTo>
                <a:cubicBezTo>
                  <a:pt x="118" y="208"/>
                  <a:pt x="118" y="208"/>
                  <a:pt x="118" y="208"/>
                </a:cubicBezTo>
                <a:cubicBezTo>
                  <a:pt x="118" y="174"/>
                  <a:pt x="118" y="174"/>
                  <a:pt x="118" y="174"/>
                </a:cubicBezTo>
                <a:cubicBezTo>
                  <a:pt x="130" y="173"/>
                  <a:pt x="141" y="172"/>
                  <a:pt x="152" y="171"/>
                </a:cubicBezTo>
                <a:cubicBezTo>
                  <a:pt x="148" y="182"/>
                  <a:pt x="144" y="193"/>
                  <a:pt x="138" y="204"/>
                </a:cubicBezTo>
                <a:cubicBezTo>
                  <a:pt x="138" y="204"/>
                  <a:pt x="138" y="204"/>
                  <a:pt x="137" y="204"/>
                </a:cubicBezTo>
                <a:moveTo>
                  <a:pt x="103" y="208"/>
                </a:moveTo>
                <a:cubicBezTo>
                  <a:pt x="102" y="208"/>
                  <a:pt x="101" y="207"/>
                  <a:pt x="99" y="207"/>
                </a:cubicBezTo>
                <a:cubicBezTo>
                  <a:pt x="99" y="207"/>
                  <a:pt x="99" y="207"/>
                  <a:pt x="98" y="207"/>
                </a:cubicBezTo>
                <a:cubicBezTo>
                  <a:pt x="97" y="207"/>
                  <a:pt x="96" y="207"/>
                  <a:pt x="94" y="207"/>
                </a:cubicBezTo>
                <a:cubicBezTo>
                  <a:pt x="94" y="206"/>
                  <a:pt x="94" y="206"/>
                  <a:pt x="93" y="206"/>
                </a:cubicBezTo>
                <a:cubicBezTo>
                  <a:pt x="92" y="206"/>
                  <a:pt x="91" y="206"/>
                  <a:pt x="90" y="206"/>
                </a:cubicBezTo>
                <a:cubicBezTo>
                  <a:pt x="89" y="205"/>
                  <a:pt x="89" y="205"/>
                  <a:pt x="88" y="205"/>
                </a:cubicBezTo>
                <a:cubicBezTo>
                  <a:pt x="87" y="205"/>
                  <a:pt x="86" y="205"/>
                  <a:pt x="85" y="204"/>
                </a:cubicBezTo>
                <a:cubicBezTo>
                  <a:pt x="84" y="204"/>
                  <a:pt x="84" y="204"/>
                  <a:pt x="84" y="204"/>
                </a:cubicBezTo>
                <a:cubicBezTo>
                  <a:pt x="78" y="193"/>
                  <a:pt x="74" y="182"/>
                  <a:pt x="70" y="171"/>
                </a:cubicBezTo>
                <a:cubicBezTo>
                  <a:pt x="81" y="172"/>
                  <a:pt x="92" y="173"/>
                  <a:pt x="104" y="174"/>
                </a:cubicBezTo>
                <a:cubicBezTo>
                  <a:pt x="104" y="208"/>
                  <a:pt x="104" y="208"/>
                  <a:pt x="104" y="208"/>
                </a:cubicBezTo>
                <a:cubicBezTo>
                  <a:pt x="104" y="208"/>
                  <a:pt x="104" y="208"/>
                  <a:pt x="103" y="208"/>
                </a:cubicBezTo>
                <a:moveTo>
                  <a:pt x="85" y="18"/>
                </a:moveTo>
                <a:cubicBezTo>
                  <a:pt x="86" y="17"/>
                  <a:pt x="87" y="17"/>
                  <a:pt x="88" y="17"/>
                </a:cubicBezTo>
                <a:cubicBezTo>
                  <a:pt x="89" y="17"/>
                  <a:pt x="89" y="17"/>
                  <a:pt x="90" y="16"/>
                </a:cubicBezTo>
                <a:cubicBezTo>
                  <a:pt x="91" y="16"/>
                  <a:pt x="92" y="16"/>
                  <a:pt x="93" y="16"/>
                </a:cubicBezTo>
                <a:cubicBezTo>
                  <a:pt x="94" y="16"/>
                  <a:pt x="94" y="16"/>
                  <a:pt x="94" y="15"/>
                </a:cubicBezTo>
                <a:cubicBezTo>
                  <a:pt x="96" y="15"/>
                  <a:pt x="97" y="15"/>
                  <a:pt x="98" y="15"/>
                </a:cubicBezTo>
                <a:cubicBezTo>
                  <a:pt x="99" y="15"/>
                  <a:pt x="99" y="15"/>
                  <a:pt x="99" y="15"/>
                </a:cubicBezTo>
                <a:cubicBezTo>
                  <a:pt x="101" y="15"/>
                  <a:pt x="102" y="14"/>
                  <a:pt x="104" y="14"/>
                </a:cubicBezTo>
                <a:cubicBezTo>
                  <a:pt x="104" y="14"/>
                  <a:pt x="104" y="14"/>
                  <a:pt x="104" y="14"/>
                </a:cubicBezTo>
                <a:cubicBezTo>
                  <a:pt x="104" y="48"/>
                  <a:pt x="104" y="48"/>
                  <a:pt x="104" y="48"/>
                </a:cubicBezTo>
                <a:cubicBezTo>
                  <a:pt x="92" y="49"/>
                  <a:pt x="81" y="50"/>
                  <a:pt x="70" y="51"/>
                </a:cubicBezTo>
                <a:cubicBezTo>
                  <a:pt x="74" y="40"/>
                  <a:pt x="78" y="29"/>
                  <a:pt x="84" y="18"/>
                </a:cubicBezTo>
                <a:cubicBezTo>
                  <a:pt x="84" y="18"/>
                  <a:pt x="84" y="18"/>
                  <a:pt x="85" y="18"/>
                </a:cubicBezTo>
                <a:moveTo>
                  <a:pt x="118" y="14"/>
                </a:moveTo>
                <a:cubicBezTo>
                  <a:pt x="120" y="14"/>
                  <a:pt x="121" y="15"/>
                  <a:pt x="123" y="15"/>
                </a:cubicBezTo>
                <a:cubicBezTo>
                  <a:pt x="123" y="15"/>
                  <a:pt x="123" y="15"/>
                  <a:pt x="124" y="15"/>
                </a:cubicBezTo>
                <a:cubicBezTo>
                  <a:pt x="125" y="15"/>
                  <a:pt x="126" y="15"/>
                  <a:pt x="128" y="15"/>
                </a:cubicBezTo>
                <a:cubicBezTo>
                  <a:pt x="128" y="16"/>
                  <a:pt x="128" y="16"/>
                  <a:pt x="129" y="16"/>
                </a:cubicBezTo>
                <a:cubicBezTo>
                  <a:pt x="130" y="16"/>
                  <a:pt x="131" y="16"/>
                  <a:pt x="132" y="16"/>
                </a:cubicBezTo>
                <a:cubicBezTo>
                  <a:pt x="133" y="17"/>
                  <a:pt x="133" y="17"/>
                  <a:pt x="134" y="17"/>
                </a:cubicBezTo>
                <a:cubicBezTo>
                  <a:pt x="135" y="17"/>
                  <a:pt x="136" y="17"/>
                  <a:pt x="137" y="18"/>
                </a:cubicBezTo>
                <a:cubicBezTo>
                  <a:pt x="138" y="18"/>
                  <a:pt x="138" y="18"/>
                  <a:pt x="138" y="18"/>
                </a:cubicBezTo>
                <a:cubicBezTo>
                  <a:pt x="144" y="29"/>
                  <a:pt x="148" y="40"/>
                  <a:pt x="152" y="51"/>
                </a:cubicBezTo>
                <a:cubicBezTo>
                  <a:pt x="141" y="50"/>
                  <a:pt x="130" y="49"/>
                  <a:pt x="118" y="48"/>
                </a:cubicBezTo>
                <a:cubicBezTo>
                  <a:pt x="118" y="14"/>
                  <a:pt x="118" y="14"/>
                  <a:pt x="118" y="14"/>
                </a:cubicBezTo>
                <a:cubicBezTo>
                  <a:pt x="118" y="14"/>
                  <a:pt x="118" y="14"/>
                  <a:pt x="118" y="14"/>
                </a:cubicBezTo>
                <a:moveTo>
                  <a:pt x="104" y="62"/>
                </a:moveTo>
                <a:cubicBezTo>
                  <a:pt x="104" y="104"/>
                  <a:pt x="104" y="104"/>
                  <a:pt x="104" y="104"/>
                </a:cubicBezTo>
                <a:cubicBezTo>
                  <a:pt x="62" y="104"/>
                  <a:pt x="62" y="104"/>
                  <a:pt x="62" y="104"/>
                </a:cubicBezTo>
                <a:cubicBezTo>
                  <a:pt x="63" y="91"/>
                  <a:pt x="64" y="79"/>
                  <a:pt x="67" y="67"/>
                </a:cubicBezTo>
                <a:cubicBezTo>
                  <a:pt x="79" y="64"/>
                  <a:pt x="91" y="63"/>
                  <a:pt x="104" y="62"/>
                </a:cubicBezTo>
                <a:moveTo>
                  <a:pt x="104" y="118"/>
                </a:moveTo>
                <a:cubicBezTo>
                  <a:pt x="104" y="160"/>
                  <a:pt x="104" y="160"/>
                  <a:pt x="104" y="160"/>
                </a:cubicBezTo>
                <a:cubicBezTo>
                  <a:pt x="91" y="159"/>
                  <a:pt x="79" y="158"/>
                  <a:pt x="67" y="155"/>
                </a:cubicBezTo>
                <a:cubicBezTo>
                  <a:pt x="64" y="143"/>
                  <a:pt x="63" y="131"/>
                  <a:pt x="62" y="118"/>
                </a:cubicBezTo>
                <a:lnTo>
                  <a:pt x="104" y="118"/>
                </a:lnTo>
                <a:close/>
                <a:moveTo>
                  <a:pt x="118" y="160"/>
                </a:moveTo>
                <a:cubicBezTo>
                  <a:pt x="118" y="118"/>
                  <a:pt x="118" y="118"/>
                  <a:pt x="118" y="118"/>
                </a:cubicBezTo>
                <a:cubicBezTo>
                  <a:pt x="160" y="118"/>
                  <a:pt x="160" y="118"/>
                  <a:pt x="160" y="118"/>
                </a:cubicBezTo>
                <a:cubicBezTo>
                  <a:pt x="159" y="131"/>
                  <a:pt x="158" y="143"/>
                  <a:pt x="155" y="155"/>
                </a:cubicBezTo>
                <a:cubicBezTo>
                  <a:pt x="143" y="158"/>
                  <a:pt x="131" y="159"/>
                  <a:pt x="118" y="160"/>
                </a:cubicBezTo>
                <a:moveTo>
                  <a:pt x="118" y="104"/>
                </a:moveTo>
                <a:cubicBezTo>
                  <a:pt x="118" y="62"/>
                  <a:pt x="118" y="62"/>
                  <a:pt x="118" y="62"/>
                </a:cubicBezTo>
                <a:cubicBezTo>
                  <a:pt x="131" y="63"/>
                  <a:pt x="143" y="64"/>
                  <a:pt x="155" y="67"/>
                </a:cubicBezTo>
                <a:cubicBezTo>
                  <a:pt x="158" y="79"/>
                  <a:pt x="159" y="91"/>
                  <a:pt x="160" y="104"/>
                </a:cubicBezTo>
                <a:lnTo>
                  <a:pt x="118" y="104"/>
                </a:lnTo>
                <a:close/>
                <a:moveTo>
                  <a:pt x="65" y="26"/>
                </a:moveTo>
                <a:cubicBezTo>
                  <a:pt x="61" y="35"/>
                  <a:pt x="57" y="45"/>
                  <a:pt x="55" y="55"/>
                </a:cubicBezTo>
                <a:cubicBezTo>
                  <a:pt x="45" y="57"/>
                  <a:pt x="35" y="61"/>
                  <a:pt x="26" y="65"/>
                </a:cubicBezTo>
                <a:cubicBezTo>
                  <a:pt x="35" y="48"/>
                  <a:pt x="48" y="35"/>
                  <a:pt x="65" y="26"/>
                </a:cubicBezTo>
                <a:moveTo>
                  <a:pt x="14" y="103"/>
                </a:moveTo>
                <a:cubicBezTo>
                  <a:pt x="14" y="102"/>
                  <a:pt x="15" y="101"/>
                  <a:pt x="15" y="100"/>
                </a:cubicBezTo>
                <a:cubicBezTo>
                  <a:pt x="15" y="99"/>
                  <a:pt x="15" y="99"/>
                  <a:pt x="15" y="98"/>
                </a:cubicBezTo>
                <a:cubicBezTo>
                  <a:pt x="15" y="97"/>
                  <a:pt x="15" y="96"/>
                  <a:pt x="15" y="95"/>
                </a:cubicBezTo>
                <a:cubicBezTo>
                  <a:pt x="15" y="94"/>
                  <a:pt x="16" y="94"/>
                  <a:pt x="16" y="93"/>
                </a:cubicBezTo>
                <a:cubicBezTo>
                  <a:pt x="16" y="92"/>
                  <a:pt x="16" y="91"/>
                  <a:pt x="16" y="90"/>
                </a:cubicBezTo>
                <a:cubicBezTo>
                  <a:pt x="17" y="89"/>
                  <a:pt x="17" y="89"/>
                  <a:pt x="17" y="88"/>
                </a:cubicBezTo>
                <a:cubicBezTo>
                  <a:pt x="17" y="87"/>
                  <a:pt x="17" y="86"/>
                  <a:pt x="18" y="85"/>
                </a:cubicBezTo>
                <a:cubicBezTo>
                  <a:pt x="18" y="84"/>
                  <a:pt x="18" y="84"/>
                  <a:pt x="18" y="84"/>
                </a:cubicBezTo>
                <a:cubicBezTo>
                  <a:pt x="29" y="78"/>
                  <a:pt x="40" y="74"/>
                  <a:pt x="51" y="70"/>
                </a:cubicBezTo>
                <a:cubicBezTo>
                  <a:pt x="50" y="81"/>
                  <a:pt x="49" y="92"/>
                  <a:pt x="48" y="104"/>
                </a:cubicBezTo>
                <a:cubicBezTo>
                  <a:pt x="14" y="104"/>
                  <a:pt x="14" y="104"/>
                  <a:pt x="14" y="104"/>
                </a:cubicBezTo>
                <a:cubicBezTo>
                  <a:pt x="14" y="104"/>
                  <a:pt x="14" y="103"/>
                  <a:pt x="14" y="103"/>
                </a:cubicBezTo>
                <a:moveTo>
                  <a:pt x="18" y="137"/>
                </a:moveTo>
                <a:cubicBezTo>
                  <a:pt x="17" y="136"/>
                  <a:pt x="17" y="135"/>
                  <a:pt x="17" y="134"/>
                </a:cubicBezTo>
                <a:cubicBezTo>
                  <a:pt x="17" y="133"/>
                  <a:pt x="17" y="133"/>
                  <a:pt x="16" y="132"/>
                </a:cubicBezTo>
                <a:cubicBezTo>
                  <a:pt x="16" y="131"/>
                  <a:pt x="16" y="130"/>
                  <a:pt x="16" y="129"/>
                </a:cubicBezTo>
                <a:cubicBezTo>
                  <a:pt x="16" y="128"/>
                  <a:pt x="15" y="128"/>
                  <a:pt x="15" y="127"/>
                </a:cubicBezTo>
                <a:cubicBezTo>
                  <a:pt x="15" y="126"/>
                  <a:pt x="15" y="125"/>
                  <a:pt x="15" y="124"/>
                </a:cubicBezTo>
                <a:cubicBezTo>
                  <a:pt x="15" y="123"/>
                  <a:pt x="15" y="123"/>
                  <a:pt x="15" y="122"/>
                </a:cubicBezTo>
                <a:cubicBezTo>
                  <a:pt x="15" y="121"/>
                  <a:pt x="14" y="120"/>
                  <a:pt x="14" y="119"/>
                </a:cubicBezTo>
                <a:cubicBezTo>
                  <a:pt x="14" y="119"/>
                  <a:pt x="14" y="118"/>
                  <a:pt x="14" y="118"/>
                </a:cubicBezTo>
                <a:cubicBezTo>
                  <a:pt x="48" y="118"/>
                  <a:pt x="48" y="118"/>
                  <a:pt x="48" y="118"/>
                </a:cubicBezTo>
                <a:cubicBezTo>
                  <a:pt x="49" y="130"/>
                  <a:pt x="50" y="141"/>
                  <a:pt x="51" y="152"/>
                </a:cubicBezTo>
                <a:cubicBezTo>
                  <a:pt x="40" y="148"/>
                  <a:pt x="29" y="144"/>
                  <a:pt x="18" y="138"/>
                </a:cubicBezTo>
                <a:cubicBezTo>
                  <a:pt x="18" y="138"/>
                  <a:pt x="18" y="138"/>
                  <a:pt x="18" y="137"/>
                </a:cubicBezTo>
                <a:moveTo>
                  <a:pt x="26" y="157"/>
                </a:moveTo>
                <a:cubicBezTo>
                  <a:pt x="35" y="161"/>
                  <a:pt x="45" y="165"/>
                  <a:pt x="55" y="167"/>
                </a:cubicBezTo>
                <a:cubicBezTo>
                  <a:pt x="57" y="177"/>
                  <a:pt x="61" y="187"/>
                  <a:pt x="65" y="196"/>
                </a:cubicBezTo>
                <a:cubicBezTo>
                  <a:pt x="48" y="187"/>
                  <a:pt x="35" y="174"/>
                  <a:pt x="26" y="157"/>
                </a:cubicBezTo>
                <a:moveTo>
                  <a:pt x="157" y="196"/>
                </a:moveTo>
                <a:cubicBezTo>
                  <a:pt x="161" y="187"/>
                  <a:pt x="165" y="177"/>
                  <a:pt x="167" y="167"/>
                </a:cubicBezTo>
                <a:cubicBezTo>
                  <a:pt x="177" y="165"/>
                  <a:pt x="187" y="161"/>
                  <a:pt x="196" y="157"/>
                </a:cubicBezTo>
                <a:cubicBezTo>
                  <a:pt x="187" y="174"/>
                  <a:pt x="174" y="187"/>
                  <a:pt x="157" y="196"/>
                </a:cubicBezTo>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226709551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contenuto 1"/>
          <p:cNvSpPr>
            <a:spLocks noGrp="1"/>
          </p:cNvSpPr>
          <p:nvPr>
            <p:ph idx="1"/>
          </p:nvPr>
        </p:nvSpPr>
        <p:spPr>
          <a:xfrm>
            <a:off x="838200" y="1825624"/>
            <a:ext cx="8226426" cy="4195663"/>
          </a:xfrm>
        </p:spPr>
        <p:txBody>
          <a:bodyPr>
            <a:normAutofit fontScale="92500" lnSpcReduction="10000"/>
          </a:bodyPr>
          <a:lstStyle/>
          <a:p>
            <a:r>
              <a:rPr lang="en-GB" sz="3000" dirty="0"/>
              <a:t>From a </a:t>
            </a:r>
            <a:r>
              <a:rPr lang="en-GB" sz="3000" b="1" dirty="0"/>
              <a:t>data-scarce </a:t>
            </a:r>
            <a:r>
              <a:rPr lang="en-GB" sz="3000" dirty="0"/>
              <a:t>world </a:t>
            </a:r>
            <a:r>
              <a:rPr lang="mr-IN" sz="3000" dirty="0"/>
              <a:t>…</a:t>
            </a:r>
            <a:endParaRPr lang="en-GB" sz="3000" dirty="0"/>
          </a:p>
          <a:p>
            <a:pPr lvl="1"/>
            <a:r>
              <a:rPr lang="en-GB" sz="2600" dirty="0" smtClean="0"/>
              <a:t>where statistical </a:t>
            </a:r>
            <a:r>
              <a:rPr lang="en-GB" sz="2600" dirty="0"/>
              <a:t>authorities concentrated on </a:t>
            </a:r>
            <a:r>
              <a:rPr lang="en-GB" sz="2600" b="1" dirty="0"/>
              <a:t>collecting </a:t>
            </a:r>
            <a:r>
              <a:rPr lang="en-GB" sz="2600" b="1" dirty="0" smtClean="0"/>
              <a:t>data </a:t>
            </a:r>
            <a:r>
              <a:rPr lang="en-GB" sz="2600" dirty="0" smtClean="0"/>
              <a:t>survey/census </a:t>
            </a:r>
            <a:r>
              <a:rPr lang="en-GB" sz="2600" dirty="0"/>
              <a:t>as primary sources</a:t>
            </a:r>
          </a:p>
          <a:p>
            <a:pPr marL="0" indent="0">
              <a:buNone/>
            </a:pPr>
            <a:endParaRPr lang="en-GB" sz="3000" dirty="0"/>
          </a:p>
          <a:p>
            <a:endParaRPr lang="it-IT" sz="3000" dirty="0" smtClean="0"/>
          </a:p>
          <a:p>
            <a:r>
              <a:rPr lang="mr-IN" sz="3000" dirty="0" smtClean="0"/>
              <a:t>…</a:t>
            </a:r>
            <a:r>
              <a:rPr lang="it-IT" sz="3000" dirty="0" smtClean="0"/>
              <a:t> </a:t>
            </a:r>
            <a:r>
              <a:rPr lang="en-GB" sz="3000" dirty="0"/>
              <a:t>to a </a:t>
            </a:r>
            <a:r>
              <a:rPr lang="en-GB" sz="3000" b="1" dirty="0"/>
              <a:t>data-rich </a:t>
            </a:r>
            <a:r>
              <a:rPr lang="en-GB" sz="3000" dirty="0"/>
              <a:t>world</a:t>
            </a:r>
          </a:p>
          <a:p>
            <a:pPr lvl="1"/>
            <a:r>
              <a:rPr lang="en-GB" sz="2600" dirty="0" smtClean="0"/>
              <a:t>where  </a:t>
            </a:r>
            <a:r>
              <a:rPr lang="en-GB" sz="2600" dirty="0"/>
              <a:t>statistical authorities </a:t>
            </a:r>
            <a:r>
              <a:rPr lang="en-GB" sz="2600" dirty="0" smtClean="0"/>
              <a:t>should  </a:t>
            </a:r>
            <a:r>
              <a:rPr lang="en-GB" sz="2600" b="1" dirty="0" err="1" smtClean="0"/>
              <a:t>distill</a:t>
            </a:r>
            <a:r>
              <a:rPr lang="en-GB" sz="2600" b="1" dirty="0" smtClean="0"/>
              <a:t>  </a:t>
            </a:r>
            <a:r>
              <a:rPr lang="en-GB" sz="2600" b="1" dirty="0"/>
              <a:t>reliable information </a:t>
            </a:r>
            <a:r>
              <a:rPr lang="en-GB" sz="2600" dirty="0"/>
              <a:t> </a:t>
            </a:r>
            <a:r>
              <a:rPr lang="en-GB" sz="2600" dirty="0" smtClean="0"/>
              <a:t>from </a:t>
            </a:r>
            <a:r>
              <a:rPr lang="en-GB" sz="2600" dirty="0"/>
              <a:t>multiple data </a:t>
            </a:r>
            <a:r>
              <a:rPr lang="en-GB" sz="2600" dirty="0" smtClean="0"/>
              <a:t>sources building on their asset : traditional sources  and  sounded  methodologies (calibration</a:t>
            </a:r>
            <a:r>
              <a:rPr lang="en-GB" sz="2600" dirty="0"/>
              <a:t>, integration, </a:t>
            </a:r>
            <a:r>
              <a:rPr lang="mr-IN" sz="2600" dirty="0" smtClean="0"/>
              <a:t>…</a:t>
            </a:r>
            <a:r>
              <a:rPr lang="en-GB" sz="2600" dirty="0" smtClean="0"/>
              <a:t>)</a:t>
            </a:r>
            <a:endParaRPr lang="en-GB" sz="2600" dirty="0"/>
          </a:p>
          <a:p>
            <a:endParaRPr lang="en-GB" dirty="0"/>
          </a:p>
          <a:p>
            <a:endParaRPr lang="en-GB" dirty="0"/>
          </a:p>
        </p:txBody>
      </p:sp>
      <p:sp>
        <p:nvSpPr>
          <p:cNvPr id="3" name="Titolo 2"/>
          <p:cNvSpPr>
            <a:spLocks noGrp="1"/>
          </p:cNvSpPr>
          <p:nvPr>
            <p:ph type="title"/>
          </p:nvPr>
        </p:nvSpPr>
        <p:spPr>
          <a:xfrm>
            <a:off x="956575" y="412430"/>
            <a:ext cx="10515600" cy="782357"/>
          </a:xfrm>
        </p:spPr>
        <p:txBody>
          <a:bodyPr/>
          <a:lstStyle/>
          <a:p>
            <a:r>
              <a:rPr lang="it-IT" dirty="0" err="1" smtClean="0"/>
              <a:t>Official</a:t>
            </a:r>
            <a:r>
              <a:rPr lang="it-IT" dirty="0" smtClean="0"/>
              <a:t> </a:t>
            </a:r>
            <a:r>
              <a:rPr lang="it-IT" dirty="0" err="1" smtClean="0"/>
              <a:t>Statistics</a:t>
            </a:r>
            <a:r>
              <a:rPr lang="it-IT" dirty="0" smtClean="0"/>
              <a:t> </a:t>
            </a:r>
            <a:r>
              <a:rPr lang="it-IT" dirty="0" err="1" smtClean="0"/>
              <a:t>paradigm</a:t>
            </a:r>
            <a:r>
              <a:rPr lang="it-IT" dirty="0" smtClean="0"/>
              <a:t> </a:t>
            </a:r>
            <a:r>
              <a:rPr lang="it-IT" dirty="0" err="1" smtClean="0"/>
              <a:t>shift</a:t>
            </a:r>
            <a:endParaRPr lang="en-GB" dirty="0"/>
          </a:p>
        </p:txBody>
      </p:sp>
      <p:pic>
        <p:nvPicPr>
          <p:cNvPr id="4" name="Picture 6" descr="Image result for charlottenhofer weihergebiet"/>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9204176" y="4005064"/>
            <a:ext cx="2268251" cy="2016224"/>
          </a:xfrm>
          <a:prstGeom prst="rect">
            <a:avLst/>
          </a:prstGeom>
          <a:noFill/>
          <a:extLst>
            <a:ext uri="{909E8E84-426E-40dd-AFC4-6F175D3DCCD1}">
              <a14:hiddenFill xmlns="" xmlns:a14="http://schemas.microsoft.com/office/drawing/2010/main">
                <a:solidFill>
                  <a:srgbClr val="FFFFFF"/>
                </a:solidFill>
              </a14:hiddenFill>
            </a:ext>
          </a:extLst>
        </p:spPr>
      </p:pic>
      <p:pic>
        <p:nvPicPr>
          <p:cNvPr id="6" name="Picture 2" descr="https://free-images.com/md/13e6/abandoned_gas_well_in.jp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9204176" y="1701032"/>
            <a:ext cx="2267999" cy="2016000"/>
          </a:xfrm>
          <a:prstGeom prst="rect">
            <a:avLst/>
          </a:prstGeom>
          <a:noFill/>
          <a:extLst>
            <a:ext uri="{909E8E84-426E-40dd-AFC4-6F175D3DCCD1}">
              <a14:hiddenFill xmlns="" xmlns:a14="http://schemas.microsoft.com/office/drawing/2010/main">
                <a:solidFill>
                  <a:srgbClr val="FFFFFF"/>
                </a:solidFill>
              </a14:hiddenFill>
            </a:ext>
          </a:extLst>
        </p:spPr>
      </p:pic>
      <p:pic>
        <p:nvPicPr>
          <p:cNvPr id="5" name="Immagine 4"/>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0742947" y="2921144"/>
            <a:ext cx="1449053" cy="1591776"/>
          </a:xfrm>
          <a:prstGeom prst="ellipse">
            <a:avLst/>
          </a:prstGeom>
        </p:spPr>
      </p:pic>
    </p:spTree>
    <p:extLst>
      <p:ext uri="{BB962C8B-B14F-4D97-AF65-F5344CB8AC3E}">
        <p14:creationId xmlns:p14="http://schemas.microsoft.com/office/powerpoint/2010/main" val="2411345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Policy Context </a:t>
            </a:r>
            <a:endParaRPr lang="en-GB" dirty="0"/>
          </a:p>
        </p:txBody>
      </p:sp>
      <p:pic>
        <p:nvPicPr>
          <p:cNvPr id="3074" name="Picture 2" descr="https://cdn-icons-png.flaticon.com/512/1087/1087840.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352847" y="200025"/>
            <a:ext cx="1133475" cy="1133475"/>
          </a:xfrm>
          <a:prstGeom prst="rect">
            <a:avLst/>
          </a:prstGeom>
          <a:noFill/>
          <a:extLst>
            <a:ext uri="{909E8E84-426E-40DD-AFC4-6F175D3DCCD1}">
              <a14:hiddenFill xmlns:a14="http://schemas.microsoft.com/office/drawing/2010/main">
                <a:solidFill>
                  <a:srgbClr val="FFFFFF"/>
                </a:solidFill>
              </a14:hiddenFill>
            </a:ext>
          </a:extLst>
        </p:spPr>
      </p:pic>
      <p:sp>
        <p:nvSpPr>
          <p:cNvPr id="12" name="Oval 11"/>
          <p:cNvSpPr/>
          <p:nvPr/>
        </p:nvSpPr>
        <p:spPr>
          <a:xfrm>
            <a:off x="467373" y="4810109"/>
            <a:ext cx="1872000" cy="1872000"/>
          </a:xfrm>
          <a:prstGeom prst="ellipse">
            <a:avLst/>
          </a:prstGeom>
          <a:solidFill>
            <a:schemeClr val="accent4"/>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600" dirty="0" smtClean="0"/>
              <a:t>Health</a:t>
            </a:r>
            <a:endParaRPr lang="en-GB" sz="1600" dirty="0"/>
          </a:p>
        </p:txBody>
      </p:sp>
      <p:sp>
        <p:nvSpPr>
          <p:cNvPr id="13" name="Oval 12"/>
          <p:cNvSpPr/>
          <p:nvPr/>
        </p:nvSpPr>
        <p:spPr>
          <a:xfrm>
            <a:off x="2209826" y="4810109"/>
            <a:ext cx="1872000" cy="1872000"/>
          </a:xfrm>
          <a:prstGeom prst="ellipse">
            <a:avLst/>
          </a:prstGeom>
          <a:solidFill>
            <a:schemeClr val="tx2"/>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600" dirty="0" smtClean="0"/>
              <a:t>Inclusive Societies</a:t>
            </a:r>
            <a:endParaRPr lang="en-GB" sz="1600" dirty="0"/>
          </a:p>
        </p:txBody>
      </p:sp>
      <p:sp>
        <p:nvSpPr>
          <p:cNvPr id="14" name="Oval 13"/>
          <p:cNvSpPr/>
          <p:nvPr/>
        </p:nvSpPr>
        <p:spPr>
          <a:xfrm>
            <a:off x="3952279" y="4810109"/>
            <a:ext cx="1872000" cy="1872000"/>
          </a:xfrm>
          <a:prstGeom prst="ellipse">
            <a:avLst/>
          </a:prstGeom>
          <a:solidFill>
            <a:schemeClr val="accent1"/>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600" dirty="0" smtClean="0"/>
              <a:t>Security and autonomy</a:t>
            </a:r>
            <a:endParaRPr lang="en-GB" sz="1600" dirty="0"/>
          </a:p>
        </p:txBody>
      </p:sp>
      <p:sp>
        <p:nvSpPr>
          <p:cNvPr id="15" name="Oval 14"/>
          <p:cNvSpPr/>
          <p:nvPr/>
        </p:nvSpPr>
        <p:spPr>
          <a:xfrm>
            <a:off x="5694732" y="4810109"/>
            <a:ext cx="1872000" cy="1872000"/>
          </a:xfrm>
          <a:prstGeom prst="ellipse">
            <a:avLst/>
          </a:prstGeom>
          <a:solidFill>
            <a:schemeClr val="accent3"/>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600" dirty="0" smtClean="0"/>
              <a:t>Digital, Industry</a:t>
            </a:r>
            <a:endParaRPr lang="en-GB" sz="1600" dirty="0"/>
          </a:p>
        </p:txBody>
      </p:sp>
      <p:sp>
        <p:nvSpPr>
          <p:cNvPr id="16" name="Oval 15"/>
          <p:cNvSpPr/>
          <p:nvPr/>
        </p:nvSpPr>
        <p:spPr>
          <a:xfrm>
            <a:off x="7437185" y="4810109"/>
            <a:ext cx="1872000" cy="1872000"/>
          </a:xfrm>
          <a:prstGeom prst="ellipse">
            <a:avLst/>
          </a:prstGeom>
          <a:solidFill>
            <a:schemeClr val="accent6"/>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spcBef>
                <a:spcPts val="0"/>
              </a:spcBef>
              <a:spcAft>
                <a:spcPts val="0"/>
              </a:spcAft>
            </a:pPr>
            <a:r>
              <a:rPr lang="en-GB" sz="1600" dirty="0" smtClean="0"/>
              <a:t>Climate, Energy &amp; Mobility</a:t>
            </a:r>
            <a:endParaRPr lang="en-GB" sz="1600" dirty="0"/>
          </a:p>
        </p:txBody>
      </p:sp>
      <p:sp>
        <p:nvSpPr>
          <p:cNvPr id="17" name="Oval 16"/>
          <p:cNvSpPr/>
          <p:nvPr/>
        </p:nvSpPr>
        <p:spPr>
          <a:xfrm>
            <a:off x="9179639" y="4810109"/>
            <a:ext cx="1872000" cy="1872000"/>
          </a:xfrm>
          <a:prstGeom prst="ellipse">
            <a:avLst/>
          </a:prstGeom>
          <a:solidFill>
            <a:schemeClr val="accent2"/>
          </a:solidFill>
          <a:ln w="28575">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fontAlgn="auto">
              <a:lnSpc>
                <a:spcPts val="1800"/>
              </a:lnSpc>
              <a:spcBef>
                <a:spcPts val="0"/>
              </a:spcBef>
              <a:spcAft>
                <a:spcPts val="0"/>
              </a:spcAft>
            </a:pPr>
            <a:r>
              <a:rPr lang="en-GB" sz="1600" spc="-70" dirty="0" smtClean="0"/>
              <a:t>Food, </a:t>
            </a:r>
            <a:r>
              <a:rPr lang="en-GB" sz="1600" spc="-70" dirty="0" err="1" smtClean="0"/>
              <a:t>Bioeconomy</a:t>
            </a:r>
            <a:r>
              <a:rPr lang="en-GB" sz="1600" spc="-70" dirty="0" smtClean="0"/>
              <a:t>, Natural Resources, Agriculture &amp; Environment</a:t>
            </a:r>
            <a:endParaRPr lang="en-GB" sz="1600" spc="-70" dirty="0"/>
          </a:p>
        </p:txBody>
      </p:sp>
      <p:sp>
        <p:nvSpPr>
          <p:cNvPr id="3" name="Content Placeholder 2"/>
          <p:cNvSpPr>
            <a:spLocks noGrp="1"/>
          </p:cNvSpPr>
          <p:nvPr>
            <p:ph idx="1"/>
          </p:nvPr>
        </p:nvSpPr>
        <p:spPr>
          <a:xfrm>
            <a:off x="838200" y="1237672"/>
            <a:ext cx="9514648" cy="4561172"/>
          </a:xfrm>
        </p:spPr>
        <p:txBody>
          <a:bodyPr/>
          <a:lstStyle/>
          <a:p>
            <a:r>
              <a:rPr lang="en-GB" sz="2000" dirty="0" smtClean="0"/>
              <a:t>The </a:t>
            </a:r>
            <a:r>
              <a:rPr lang="en-GB" sz="2000" b="1" dirty="0" smtClean="0"/>
              <a:t>ESS Vision 2020 Programme </a:t>
            </a:r>
            <a:r>
              <a:rPr lang="en-GB" sz="2000" dirty="0" smtClean="0"/>
              <a:t>ended in 2020 delivering a wide range of results</a:t>
            </a:r>
          </a:p>
          <a:p>
            <a:endParaRPr lang="en-GB" sz="2000" dirty="0" smtClean="0"/>
          </a:p>
          <a:p>
            <a:r>
              <a:rPr lang="en-GB" sz="2000" dirty="0" smtClean="0"/>
              <a:t>The COVID-19 crisis has proved that </a:t>
            </a:r>
            <a:r>
              <a:rPr lang="en-GB" sz="2000" b="1" dirty="0" smtClean="0"/>
              <a:t>innovation is more important than ever </a:t>
            </a:r>
            <a:r>
              <a:rPr lang="en-GB" sz="2000" dirty="0" smtClean="0"/>
              <a:t>in a rapidly changing data ecosystem and to respond to new user needs</a:t>
            </a:r>
          </a:p>
          <a:p>
            <a:endParaRPr lang="en-GB" sz="2000" dirty="0" smtClean="0"/>
          </a:p>
          <a:p>
            <a:r>
              <a:rPr lang="en-GB" sz="2000" dirty="0" smtClean="0"/>
              <a:t>A broad consensus on the </a:t>
            </a:r>
            <a:r>
              <a:rPr lang="en-GB" sz="2000" dirty="0"/>
              <a:t>need to keep a focus on </a:t>
            </a:r>
            <a:r>
              <a:rPr lang="en-GB" sz="2000" b="1" dirty="0"/>
              <a:t>ESS innovation as part of the </a:t>
            </a:r>
            <a:r>
              <a:rPr lang="en-GB" sz="2000" b="1" dirty="0" smtClean="0"/>
              <a:t>Multi Annual Plan </a:t>
            </a:r>
            <a:r>
              <a:rPr lang="en-GB" sz="2000" dirty="0" smtClean="0"/>
              <a:t>with a broad scope (product and process innovation)</a:t>
            </a:r>
          </a:p>
          <a:p>
            <a:endParaRPr lang="en-GB" sz="2000" dirty="0"/>
          </a:p>
          <a:p>
            <a:r>
              <a:rPr lang="en-IE" sz="2000" dirty="0"/>
              <a:t>New measure and new indicators </a:t>
            </a:r>
            <a:r>
              <a:rPr lang="en-IE" sz="2000" dirty="0" smtClean="0"/>
              <a:t>demands …</a:t>
            </a:r>
            <a:endParaRPr lang="en-GB" sz="2000" dirty="0" smtClean="0"/>
          </a:p>
          <a:p>
            <a:endParaRPr lang="en-GB" sz="2000" dirty="0" smtClean="0"/>
          </a:p>
        </p:txBody>
      </p:sp>
    </p:spTree>
    <p:extLst>
      <p:ext uri="{BB962C8B-B14F-4D97-AF65-F5344CB8AC3E}">
        <p14:creationId xmlns:p14="http://schemas.microsoft.com/office/powerpoint/2010/main" val="68171150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1676399" y="1825625"/>
            <a:ext cx="10905699" cy="3881904"/>
          </a:xfrm>
        </p:spPr>
        <p:txBody>
          <a:bodyPr/>
          <a:lstStyle/>
          <a:p>
            <a:pPr>
              <a:spcBef>
                <a:spcPts val="1200"/>
              </a:spcBef>
              <a:spcAft>
                <a:spcPts val="600"/>
              </a:spcAft>
            </a:pPr>
            <a:r>
              <a:rPr lang="en-IE" b="1" dirty="0" smtClean="0"/>
              <a:t>ESS innovation agenda</a:t>
            </a:r>
          </a:p>
          <a:p>
            <a:pPr lvl="1">
              <a:spcBef>
                <a:spcPts val="0"/>
              </a:spcBef>
              <a:spcAft>
                <a:spcPts val="0"/>
              </a:spcAft>
            </a:pPr>
            <a:r>
              <a:rPr lang="en-IE" b="1" dirty="0" smtClean="0"/>
              <a:t>stocktaking</a:t>
            </a:r>
            <a:r>
              <a:rPr lang="en-IE" dirty="0" smtClean="0"/>
              <a:t> existing innovation, </a:t>
            </a:r>
            <a:r>
              <a:rPr lang="en-IE" b="1" i="1" dirty="0" smtClean="0"/>
              <a:t>priorities</a:t>
            </a:r>
            <a:r>
              <a:rPr lang="en-IE" dirty="0" smtClean="0"/>
              <a:t>, </a:t>
            </a:r>
            <a:r>
              <a:rPr lang="en-IE" b="1" dirty="0" smtClean="0"/>
              <a:t>enablers</a:t>
            </a:r>
            <a:r>
              <a:rPr lang="en-IE" dirty="0" smtClean="0"/>
              <a:t> for innovation, </a:t>
            </a:r>
            <a:r>
              <a:rPr lang="en-IE" b="1" dirty="0" smtClean="0"/>
              <a:t>funding</a:t>
            </a:r>
            <a:r>
              <a:rPr lang="en-IE" dirty="0" smtClean="0"/>
              <a:t> mechanism, </a:t>
            </a:r>
            <a:r>
              <a:rPr lang="en-IE" b="1" dirty="0" smtClean="0"/>
              <a:t>reaching ou</a:t>
            </a:r>
            <a:r>
              <a:rPr lang="en-IE" dirty="0" smtClean="0"/>
              <a:t>t a large community, maintaining </a:t>
            </a:r>
            <a:r>
              <a:rPr lang="en-IE" b="1" dirty="0" smtClean="0"/>
              <a:t>alignment</a:t>
            </a:r>
            <a:r>
              <a:rPr lang="en-IE" dirty="0" smtClean="0"/>
              <a:t> with ESS </a:t>
            </a:r>
            <a:r>
              <a:rPr lang="en-IE" b="1" dirty="0" smtClean="0"/>
              <a:t>business</a:t>
            </a:r>
            <a:r>
              <a:rPr lang="en-IE" dirty="0" smtClean="0"/>
              <a:t> goals</a:t>
            </a:r>
          </a:p>
          <a:p>
            <a:pPr>
              <a:spcBef>
                <a:spcPts val="1800"/>
              </a:spcBef>
              <a:spcAft>
                <a:spcPts val="600"/>
              </a:spcAft>
            </a:pPr>
            <a:r>
              <a:rPr lang="en-US" dirty="0" smtClean="0"/>
              <a:t>I</a:t>
            </a:r>
            <a:r>
              <a:rPr lang="en-US" b="1" dirty="0" smtClean="0"/>
              <a:t>mplementation </a:t>
            </a:r>
            <a:r>
              <a:rPr lang="en-US" b="1" dirty="0"/>
              <a:t>and deployment</a:t>
            </a:r>
            <a:r>
              <a:rPr lang="en-US" dirty="0"/>
              <a:t> of innovation actions </a:t>
            </a:r>
          </a:p>
          <a:p>
            <a:pPr lvl="1"/>
            <a:r>
              <a:rPr lang="en-US" dirty="0" smtClean="0"/>
              <a:t>Foster </a:t>
            </a:r>
            <a:r>
              <a:rPr lang="en-US" b="1" dirty="0" smtClean="0"/>
              <a:t>cooperation</a:t>
            </a:r>
            <a:r>
              <a:rPr lang="en-US" dirty="0" smtClean="0"/>
              <a:t>, </a:t>
            </a:r>
            <a:r>
              <a:rPr lang="en-US" b="1" dirty="0" smtClean="0"/>
              <a:t>coherence of</a:t>
            </a:r>
            <a:r>
              <a:rPr lang="en-US" dirty="0" smtClean="0"/>
              <a:t> portfolio, putting in place </a:t>
            </a:r>
            <a:r>
              <a:rPr lang="en-US" b="1" dirty="0" smtClean="0"/>
              <a:t>enablers</a:t>
            </a:r>
            <a:r>
              <a:rPr lang="en-US" dirty="0" smtClean="0"/>
              <a:t> for </a:t>
            </a:r>
            <a:r>
              <a:rPr lang="en-US" b="1" dirty="0" smtClean="0"/>
              <a:t>accelerating</a:t>
            </a:r>
            <a:r>
              <a:rPr lang="en-US" dirty="0" smtClean="0"/>
              <a:t>, and ensuring business outcomes/ </a:t>
            </a:r>
            <a:r>
              <a:rPr lang="en-US" b="1" dirty="0" smtClean="0"/>
              <a:t>concrete realizations</a:t>
            </a:r>
            <a:r>
              <a:rPr lang="en-US" dirty="0" smtClean="0"/>
              <a:t>, </a:t>
            </a:r>
            <a:r>
              <a:rPr lang="en-US" b="1" dirty="0" smtClean="0"/>
              <a:t>communicating </a:t>
            </a:r>
            <a:r>
              <a:rPr lang="en-US" b="1" dirty="0"/>
              <a:t>and promoting</a:t>
            </a:r>
            <a:r>
              <a:rPr lang="en-US" dirty="0"/>
              <a:t>, </a:t>
            </a:r>
            <a:endParaRPr lang="en-IE" dirty="0" smtClean="0"/>
          </a:p>
        </p:txBody>
      </p:sp>
      <p:sp>
        <p:nvSpPr>
          <p:cNvPr id="3" name="Title 2"/>
          <p:cNvSpPr>
            <a:spLocks noGrp="1"/>
          </p:cNvSpPr>
          <p:nvPr>
            <p:ph type="title"/>
          </p:nvPr>
        </p:nvSpPr>
        <p:spPr/>
        <p:txBody>
          <a:bodyPr/>
          <a:lstStyle/>
          <a:p>
            <a:r>
              <a:rPr lang="en-IE" dirty="0" smtClean="0"/>
              <a:t>ESS innovation</a:t>
            </a:r>
            <a:endParaRPr lang="en-IE" dirty="0"/>
          </a:p>
        </p:txBody>
      </p:sp>
      <p:pic>
        <p:nvPicPr>
          <p:cNvPr id="1026" name="Picture 2" descr="https://cdn-icons.flaticon.com/png/512/4323/premium/4323672.png?token=exp=1643728109~hmac=e47aaf6564d4dd7ce956e829df28ebd3"/>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57705" y="1825625"/>
            <a:ext cx="518694" cy="518694"/>
          </a:xfrm>
          <a:prstGeom prst="rect">
            <a:avLst/>
          </a:prstGeom>
          <a:solidFill>
            <a:schemeClr val="tx2">
              <a:lumMod val="20000"/>
              <a:lumOff val="80000"/>
            </a:schemeClr>
          </a:solidFill>
        </p:spPr>
      </p:pic>
      <p:pic>
        <p:nvPicPr>
          <p:cNvPr id="1028" name="Picture 4" descr="https://cdn-icons.flaticon.com/png/512/3080/premium/3080606.png?token=exp=1643728194~hmac=4b7230048b4c4a853470b3565b5be3c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57705" y="3507230"/>
            <a:ext cx="518694" cy="518694"/>
          </a:xfrm>
          <a:prstGeom prst="rect">
            <a:avLst/>
          </a:prstGeom>
          <a:solidFill>
            <a:schemeClr val="tx2">
              <a:lumMod val="20000"/>
              <a:lumOff val="80000"/>
            </a:schemeClr>
          </a:solidFill>
        </p:spPr>
      </p:pic>
    </p:spTree>
    <p:extLst>
      <p:ext uri="{BB962C8B-B14F-4D97-AF65-F5344CB8AC3E}">
        <p14:creationId xmlns:p14="http://schemas.microsoft.com/office/powerpoint/2010/main" val="3252985646"/>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4"/>
          <p:cNvSpPr/>
          <p:nvPr/>
        </p:nvSpPr>
        <p:spPr>
          <a:xfrm rot="1707622">
            <a:off x="4734565" y="2485297"/>
            <a:ext cx="2987913" cy="2994638"/>
          </a:xfrm>
          <a:custGeom>
            <a:avLst/>
            <a:gdLst>
              <a:gd name="connsiteX0" fmla="*/ 0 w 2051843"/>
              <a:gd name="connsiteY0" fmla="*/ 1025922 h 2051843"/>
              <a:gd name="connsiteX1" fmla="*/ 1025922 w 2051843"/>
              <a:gd name="connsiteY1" fmla="*/ 0 h 2051843"/>
              <a:gd name="connsiteX2" fmla="*/ 2051844 w 2051843"/>
              <a:gd name="connsiteY2" fmla="*/ 1025922 h 2051843"/>
              <a:gd name="connsiteX3" fmla="*/ 1025922 w 2051843"/>
              <a:gd name="connsiteY3" fmla="*/ 2051844 h 2051843"/>
              <a:gd name="connsiteX4" fmla="*/ 0 w 2051843"/>
              <a:gd name="connsiteY4" fmla="*/ 1025922 h 205184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51843" h="2051843">
                <a:moveTo>
                  <a:pt x="0" y="1025922"/>
                </a:moveTo>
                <a:cubicBezTo>
                  <a:pt x="0" y="459321"/>
                  <a:pt x="459321" y="0"/>
                  <a:pt x="1025922" y="0"/>
                </a:cubicBezTo>
                <a:cubicBezTo>
                  <a:pt x="1592523" y="0"/>
                  <a:pt x="2051844" y="459321"/>
                  <a:pt x="2051844" y="1025922"/>
                </a:cubicBezTo>
                <a:cubicBezTo>
                  <a:pt x="2051844" y="1592523"/>
                  <a:pt x="1592523" y="2051844"/>
                  <a:pt x="1025922" y="2051844"/>
                </a:cubicBezTo>
                <a:cubicBezTo>
                  <a:pt x="459321" y="2051844"/>
                  <a:pt x="0" y="1592523"/>
                  <a:pt x="0" y="1025922"/>
                </a:cubicBezTo>
                <a:close/>
              </a:path>
            </a:pathLst>
          </a:custGeom>
          <a:solidFill>
            <a:schemeClr val="tx2"/>
          </a:solidFill>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txBody>
          <a:bodyPr spcFirstLastPara="0" vert="horz" wrap="square" lIns="36000" tIns="36000" rIns="36000" bIns="36000" numCol="1" spcCol="1270" anchor="ctr" anchorCtr="0">
            <a:noAutofit/>
          </a:bodyPr>
          <a:lstStyle/>
          <a:p>
            <a:pPr lvl="0" algn="ctr" defTabSz="889000">
              <a:lnSpc>
                <a:spcPct val="90000"/>
              </a:lnSpc>
              <a:spcBef>
                <a:spcPct val="0"/>
              </a:spcBef>
              <a:spcAft>
                <a:spcPct val="35000"/>
              </a:spcAft>
            </a:pPr>
            <a:endParaRPr lang="en-US" sz="3200" b="1" kern="1200" dirty="0" smtClean="0"/>
          </a:p>
          <a:p>
            <a:pPr lvl="0" algn="ctr" defTabSz="889000">
              <a:lnSpc>
                <a:spcPct val="90000"/>
              </a:lnSpc>
              <a:spcBef>
                <a:spcPct val="0"/>
              </a:spcBef>
              <a:spcAft>
                <a:spcPct val="35000"/>
              </a:spcAft>
            </a:pPr>
            <a:endParaRPr lang="en-US" kern="1200" dirty="0"/>
          </a:p>
        </p:txBody>
      </p:sp>
      <p:pic>
        <p:nvPicPr>
          <p:cNvPr id="10" name="Picture 9"/>
          <p:cNvPicPr>
            <a:picLocks noChangeAspect="1"/>
          </p:cNvPicPr>
          <p:nvPr/>
        </p:nvPicPr>
        <p:blipFill rotWithShape="1">
          <a:blip r:embed="rId3">
            <a:duotone>
              <a:schemeClr val="accent1">
                <a:shade val="45000"/>
                <a:satMod val="135000"/>
              </a:schemeClr>
              <a:prstClr val="white"/>
            </a:duotone>
          </a:blip>
          <a:srcRect l="44218" r="-1344"/>
          <a:stretch/>
        </p:blipFill>
        <p:spPr>
          <a:xfrm>
            <a:off x="7474364" y="0"/>
            <a:ext cx="4858871" cy="2677882"/>
          </a:xfrm>
          <a:prstGeom prst="rect">
            <a:avLst/>
          </a:prstGeom>
        </p:spPr>
      </p:pic>
      <p:sp>
        <p:nvSpPr>
          <p:cNvPr id="6" name="TextBox 5"/>
          <p:cNvSpPr txBox="1"/>
          <p:nvPr/>
        </p:nvSpPr>
        <p:spPr>
          <a:xfrm>
            <a:off x="5214932" y="3197786"/>
            <a:ext cx="3674775" cy="1569660"/>
          </a:xfrm>
          <a:prstGeom prst="rect">
            <a:avLst/>
          </a:prstGeom>
          <a:noFill/>
        </p:spPr>
        <p:txBody>
          <a:bodyPr wrap="square" rtlCol="0">
            <a:spAutoFit/>
          </a:bodyPr>
          <a:lstStyle/>
          <a:p>
            <a:r>
              <a:rPr lang="en-IE" sz="2400" b="1" dirty="0" smtClean="0">
                <a:solidFill>
                  <a:schemeClr val="bg1"/>
                </a:solidFill>
              </a:rPr>
              <a:t>GDPR</a:t>
            </a:r>
          </a:p>
          <a:p>
            <a:r>
              <a:rPr lang="en-IE" sz="2400" b="1" dirty="0" err="1" smtClean="0">
                <a:solidFill>
                  <a:schemeClr val="bg1"/>
                </a:solidFill>
              </a:rPr>
              <a:t>ePrivacy</a:t>
            </a:r>
            <a:endParaRPr lang="en-IE" sz="2400" b="1" dirty="0" smtClean="0">
              <a:solidFill>
                <a:schemeClr val="bg1"/>
              </a:solidFill>
            </a:endParaRPr>
          </a:p>
          <a:p>
            <a:r>
              <a:rPr lang="en-IE" sz="2400" b="1" dirty="0" smtClean="0">
                <a:solidFill>
                  <a:schemeClr val="bg1"/>
                </a:solidFill>
              </a:rPr>
              <a:t>Digital Services</a:t>
            </a:r>
          </a:p>
          <a:p>
            <a:r>
              <a:rPr lang="en-IE" sz="2400" b="1" dirty="0" smtClean="0">
                <a:solidFill>
                  <a:schemeClr val="bg1"/>
                </a:solidFill>
              </a:rPr>
              <a:t>…</a:t>
            </a:r>
            <a:endParaRPr lang="en-GB" sz="2400" b="1" dirty="0">
              <a:solidFill>
                <a:schemeClr val="bg1"/>
              </a:solidFill>
            </a:endParaRPr>
          </a:p>
        </p:txBody>
      </p:sp>
      <p:sp>
        <p:nvSpPr>
          <p:cNvPr id="3" name="Title 2"/>
          <p:cNvSpPr>
            <a:spLocks noGrp="1"/>
          </p:cNvSpPr>
          <p:nvPr>
            <p:ph type="title"/>
          </p:nvPr>
        </p:nvSpPr>
        <p:spPr>
          <a:xfrm>
            <a:off x="970721" y="247077"/>
            <a:ext cx="10515600" cy="782357"/>
          </a:xfrm>
        </p:spPr>
        <p:txBody>
          <a:bodyPr/>
          <a:lstStyle/>
          <a:p>
            <a:r>
              <a:rPr lang="en-GB" dirty="0" smtClean="0"/>
              <a:t>EU data economy</a:t>
            </a:r>
            <a:endParaRPr lang="en-GB" dirty="0"/>
          </a:p>
        </p:txBody>
      </p:sp>
      <p:graphicFrame>
        <p:nvGraphicFramePr>
          <p:cNvPr id="7" name="Diagram 6"/>
          <p:cNvGraphicFramePr/>
          <p:nvPr>
            <p:extLst>
              <p:ext uri="{D42A27DB-BD31-4B8C-83A1-F6EECF244321}">
                <p14:modId xmlns:p14="http://schemas.microsoft.com/office/powerpoint/2010/main" val="1036370821"/>
              </p:ext>
            </p:extLst>
          </p:nvPr>
        </p:nvGraphicFramePr>
        <p:xfrm>
          <a:off x="0" y="1651174"/>
          <a:ext cx="3998413" cy="2331442"/>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graphicFrame>
        <p:nvGraphicFramePr>
          <p:cNvPr id="4" name="Content Placeholder 3"/>
          <p:cNvGraphicFramePr>
            <a:graphicFrameLocks noGrp="1"/>
          </p:cNvGraphicFramePr>
          <p:nvPr>
            <p:ph idx="1"/>
            <p:extLst>
              <p:ext uri="{D42A27DB-BD31-4B8C-83A1-F6EECF244321}">
                <p14:modId xmlns:p14="http://schemas.microsoft.com/office/powerpoint/2010/main" val="2268912314"/>
              </p:ext>
            </p:extLst>
          </p:nvPr>
        </p:nvGraphicFramePr>
        <p:xfrm>
          <a:off x="443752" y="770964"/>
          <a:ext cx="11210365" cy="5629835"/>
        </p:xfrm>
        <a:graphic>
          <a:graphicData uri="http://schemas.openxmlformats.org/drawingml/2006/diagram">
            <dgm:relIds xmlns:dgm="http://schemas.openxmlformats.org/drawingml/2006/diagram" xmlns:r="http://schemas.openxmlformats.org/officeDocument/2006/relationships" r:dm="rId9" r:lo="rId10" r:qs="rId11" r:cs="rId12"/>
          </a:graphicData>
        </a:graphic>
      </p:graphicFrame>
      <p:sp>
        <p:nvSpPr>
          <p:cNvPr id="8" name="Rettangolo 13"/>
          <p:cNvSpPr/>
          <p:nvPr/>
        </p:nvSpPr>
        <p:spPr>
          <a:xfrm>
            <a:off x="7563492" y="5930783"/>
            <a:ext cx="2846808" cy="846991"/>
          </a:xfrm>
          <a:prstGeom prst="rect">
            <a:avLst/>
          </a:prstGeom>
          <a:solidFill>
            <a:schemeClr val="bg2"/>
          </a:solidFill>
          <a:ln w="28575" cmpd="sng">
            <a:solidFill>
              <a:srgbClr val="0000FF"/>
            </a:solidFill>
          </a:ln>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it-IT" dirty="0"/>
          </a:p>
        </p:txBody>
      </p:sp>
      <p:sp>
        <p:nvSpPr>
          <p:cNvPr id="9" name="CasellaDiTesto 14"/>
          <p:cNvSpPr txBox="1"/>
          <p:nvPr/>
        </p:nvSpPr>
        <p:spPr>
          <a:xfrm>
            <a:off x="7854051" y="6154223"/>
            <a:ext cx="2265689" cy="400110"/>
          </a:xfrm>
          <a:prstGeom prst="rect">
            <a:avLst/>
          </a:prstGeom>
          <a:noFill/>
        </p:spPr>
        <p:txBody>
          <a:bodyPr wrap="none" rtlCol="0">
            <a:spAutoFit/>
          </a:bodyPr>
          <a:lstStyle/>
          <a:p>
            <a:r>
              <a:rPr lang="en-GB" sz="2000" b="1" dirty="0" smtClean="0"/>
              <a:t>Official Statistics</a:t>
            </a:r>
            <a:endParaRPr lang="en-GB" sz="2000" b="1" dirty="0"/>
          </a:p>
        </p:txBody>
      </p:sp>
    </p:spTree>
    <p:extLst>
      <p:ext uri="{BB962C8B-B14F-4D97-AF65-F5344CB8AC3E}">
        <p14:creationId xmlns:p14="http://schemas.microsoft.com/office/powerpoint/2010/main" val="30913941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812579" y="1731389"/>
            <a:ext cx="10905699" cy="3100290"/>
          </a:xfrm>
        </p:spPr>
        <p:txBody>
          <a:bodyPr>
            <a:normAutofit/>
          </a:bodyPr>
          <a:lstStyle/>
          <a:p>
            <a:r>
              <a:rPr lang="en-US" sz="2800" dirty="0" smtClean="0"/>
              <a:t>Digitalization of the </a:t>
            </a:r>
            <a:r>
              <a:rPr lang="en-US" sz="2800" dirty="0"/>
              <a:t>public </a:t>
            </a:r>
            <a:r>
              <a:rPr lang="en-US" sz="2800" dirty="0" smtClean="0"/>
              <a:t>sector </a:t>
            </a:r>
          </a:p>
          <a:p>
            <a:pPr lvl="1"/>
            <a:r>
              <a:rPr lang="en-US" sz="2400" dirty="0" smtClean="0"/>
              <a:t>Services to public  go digital </a:t>
            </a:r>
          </a:p>
          <a:p>
            <a:pPr lvl="1"/>
            <a:r>
              <a:rPr lang="en-IE" sz="2400" dirty="0"/>
              <a:t>Public sector interoperability</a:t>
            </a:r>
            <a:endParaRPr lang="en-US" sz="2400" dirty="0"/>
          </a:p>
          <a:p>
            <a:pPr lvl="1"/>
            <a:r>
              <a:rPr lang="en-US" sz="2400" dirty="0" smtClean="0"/>
              <a:t>Digital </a:t>
            </a:r>
            <a:r>
              <a:rPr lang="en-US" sz="2400" dirty="0"/>
              <a:t>transformation of industry, services and </a:t>
            </a:r>
            <a:r>
              <a:rPr lang="en-US" sz="2400" dirty="0" smtClean="0"/>
              <a:t>public </a:t>
            </a:r>
            <a:r>
              <a:rPr lang="en-US" sz="2400" dirty="0"/>
              <a:t>sector </a:t>
            </a:r>
            <a:r>
              <a:rPr lang="en-US" sz="2400" dirty="0" smtClean="0"/>
              <a:t>driven by AI</a:t>
            </a:r>
          </a:p>
          <a:p>
            <a:pPr lvl="1"/>
            <a:r>
              <a:rPr lang="en-US" sz="2400" dirty="0" smtClean="0"/>
              <a:t>Engage </a:t>
            </a:r>
            <a:r>
              <a:rPr lang="en-US" sz="2400" dirty="0"/>
              <a:t>with start-ups and SMEs to procure innovative technology </a:t>
            </a:r>
            <a:r>
              <a:rPr lang="en-US" sz="2400" dirty="0" smtClean="0"/>
              <a:t>solutions </a:t>
            </a:r>
          </a:p>
          <a:p>
            <a:endParaRPr lang="en-IE" sz="2800" dirty="0"/>
          </a:p>
        </p:txBody>
      </p:sp>
      <p:sp>
        <p:nvSpPr>
          <p:cNvPr id="3" name="Title 2"/>
          <p:cNvSpPr>
            <a:spLocks noGrp="1"/>
          </p:cNvSpPr>
          <p:nvPr>
            <p:ph type="title"/>
          </p:nvPr>
        </p:nvSpPr>
        <p:spPr/>
        <p:txBody>
          <a:bodyPr/>
          <a:lstStyle/>
          <a:p>
            <a:r>
              <a:rPr lang="en-IE" dirty="0" smtClean="0"/>
              <a:t>DIGITAL EUROPE  - </a:t>
            </a:r>
            <a:r>
              <a:rPr lang="en-IE" dirty="0" err="1" smtClean="0"/>
              <a:t>GovTech</a:t>
            </a:r>
            <a:r>
              <a:rPr lang="en-IE" dirty="0" smtClean="0"/>
              <a:t> </a:t>
            </a:r>
            <a:endParaRPr lang="en-IE" dirty="0"/>
          </a:p>
        </p:txBody>
      </p:sp>
      <p:sp>
        <p:nvSpPr>
          <p:cNvPr id="12" name="AutoShape 8" descr="data:image/jpg;base64,%20/9j/4AAQSkZJRgABAQEAYABgAAD/2wBDAAUDBAQEAwUEBAQFBQUGBwwIBwcHBw8LCwkMEQ8SEhEPERETFhwXExQaFRERGCEYGh0dHx8fExciJCIeJBweHx7/2wBDAQUFBQcGBw4ICA4eFBEUHh4eHh4eHh4eHh4eHh4eHh4eHh4eHh4eHh4eHh4eHh4eHh4eHh4eHh4eHh4eHh4eHh7/wAARCAGUA2ADASIAAhEBAxEB/8QAHwAAAQUBAQEBAQEAAAAAAAAAAAECAwQFBgcICQoL/8QAtRAAAgEDAwIEAwUFBAQAAAF9AQIDAAQRBRIhMUEGE1FhByJxFDKBkaEII0KxwRVS0fAkM2JyggkKFhcYGRolJicoKSo0NTY3ODk6Q0RFRkdISUpTVFVWV1hZWmNkZWZnaGlqc3R1dnd4eXqDhIWGh4iJipKTlJWWl5iZmqKjpKWmp6ipqrKztLW2t7i5usLDxMXGx8jJytLT1NXW19jZ2uHi4+Tl5ufo6erx8vP09fb3+Pn6/8QAHwEAAwEBAQEBAQEBAQAAAAAAAAECAwQFBgcICQoL/8QAtREAAgECBAQDBAcFBAQAAQJ3AAECAxEEBSExBhJBUQdhcRMiMoEIFEKRobHBCSMzUvAVYnLRChYkNOEl8RcYGRomJygpKjU2Nzg5OkNERUZHSElKU1RVVldYWVpjZGVmZ2hpanN0dXZ3eHl6goOEhYaHiImKkpOUlZaXmJmaoqOkpaanqKmqsrO0tba3uLm6wsPExcbHyMnK0tPU1dbX2Nna4uPk5ebn6Onq8vP09fb3+Pn6/9oADAMBAAIRAxEAPwD6ll34/wBJuhGP7qcf/XpIsD/j1tcn+/Jx/wDXpItuc21qWP8Az0k4p0vH/HzdY/2I+P8A69fHnWJLj/l5uuv8EfH/ANeli3Di2tQg/vyf5zRFkf8AHrahR/fk4/8Ar02TbnFzclz/AHI//rUAEvl5xcXDSt/cT/AU+PzcYgt0hX+8/X8qI/M2/wCj26wj+8/Wo5PJziaZ52/uL0/IUAD+SWxNM9w/9xen5CpF8/b+7jjtk9TyaF8/biKKO3T1br+VRt5Bb53kun/ujp/hQAH7OW+ZpLp/Qcj/AAqX/SNv/LO2T8z/AIUD7Rt4EdtH+Z/wqL/R93Akun/MD+lAAPs5fKrJdSep6f4VK3nbcySR26ei9fzpG+0bfneO2T0HJqNPILZiikuW/vN0/WgATyd2YYXuH/vt0/M1JIZcZuLhIV/up1/Oh/O2/vp0gT+6nX86ZH5ec29u0rf33/xNABHszm3tmkb++/H86dLu/wCXm6CD+5Hx/wDXol3gf6TcrGP7qdf8aSLHW1tST/fk4/8Ar0AEXH/Hra8/35OP/r0S7elzdE/7EfH8uaJeP+Pm6/4BHx/9eli3Af6LahB/fk4/+vQARb8f6PbLGP7z/wCc02Ty84uLhpW/uJ/gKJPLzi4uWkb+4n/1qfH5uP3FukK/3n60ACedjEMCQJ/ebr+VRt5BbEksly/91en6UP5O7E0z3D/3V6fpUq+ftxHHHbp6t1oAF+0bcIkdsnqeTUR+zluTJdv+Y/wpD9nLfM0l0/oOR/hUv+kbP+Wdsn5n/CgBT9oK8tHbJ+ZqJfILZjjkun9T0/wo/wBHLfKsl0/qeR/hUjeftzJJHbp6Dk0AD+dtzLNHbp6L1/Oo08ndmCB53/vv0/M0J5O7MMMlw399un61JJ5u39/cJCv91Ov50AJJ5mM3FwsK/wB1OtNi2A5t7VnP99//AK9EXl5zbWzSN/ffj+dOl3Af6TdBB/cj4/8Ar0AEuf8Al6ugv+xHx/8AXpIuP+PW1x/tycf/AF6IuP8Aj1tf+Bycf/Xolx/y83RP+xHx/wDXoASXbnFzdFj/AHI+P5U6LzMYt7ZYh/efr+VEW/H+jWqxj+8/H/16bJ5ecXFw0rf3E6fpQASeTnE9w8zf3E6fkKennYxDClunq3X8qE87b+5gSBfV+v5VG/kbsSyyXD/3V6fpQAN5BbEkkl0/90dKlH2jb8qx2ye/J/woX7Rt+RI7ZPU8mov9HLcmS7f06j/CgA/0ct/y0u3/ADA/pUp+0bfmaO2T25NH+kbeTHbJ7cn/AAqIfZ93yJJdP6nkf4UAC+QWzHHJcv8A3m6frUj+dtzNNHbp6L1/Olbz9uZZY7dPRetRx+TnMMDzt/ffp+tABH5W7MFu8zf336fmadKZAM3FysQ/up1pZPMx/pFwsK/3U/xpkWzOba2Zz/ffj+dACxbRzbWpY/334/nRL/09XWP9iPj/AOvSy5H/AB83QQf3I+P/AK9JHx/x62uP9uTj/wCvQAsWR/x62oUf35OP/r02XZnFzctIf7icfypZdoP+k3RY/wByPj+VLF5gGLa2WJf7z/4UALH5mMW9usK/3n6/lUb+TnE07zv/AHE6fkKWTyt22e4eZv7idP0p6edt/cwpbr6t1/KgATztuIoo7dPVuv5VGfILfO8l0/oOn+FDfZy2JJJLl/7q9P04qUfaNvyrHbJ6nk/4UAA+0beBHbJ+Z/wqIfZy3Akun9eo/wAKP9HZ/wDlpdv+Y/wqU/aNvzNHbJ7cn/CgAbz9vzyR2yeg5NRL5JbMUMlw/wDebp+tC+Ru/dxyXL/3m5H5mpH87bmaZLdPRev50AEnm7czzpAn91Ov50yPy85t7dpW/vv0/M0R+VnMFu8zf336frTpPMxm4uViX+6nWgAlL4/0m5EY/uJ1pIsD/j2tST/fk4/+vSRbettbFj/fk4/nSy5H/Hzdbf8AYj4/+vQAS/8AT1dc/wByPj/69LFuH/HtahB/efj/AOvSRZH/AB7WoX/bk4/+vRJsz/pFyzn+4n/1qAEl8vOLi5aQ/wBxP/rU+PzcYgt0hX+8/X8qSPzAMW9usK/3n/wpj+TnE07zv/cTp+QoAH8ndiaZ7h/7q9PyFSr5+3Eccdunq3X8qRfO2/uoo7dPVutRt9nLYd5Ll/Qcj/CgAP2ct8zSXT+g5A/pUn+kbf8AlnbJ+Z/wpf8ASNvAjtk9+T/hUX+jluBJdv78j/CgAH2fd8qyXT+p5A/pUjeftzJJHbJ6Dk0N9o2/PJHbJ6DrUaeQWzFFJcv/AHm6fmaABPJ3Zhhe4b+83T9akk83GZ7hIV/up1/Oh/O25nmSBfROv50yPy8/6PbvKf779P1oAI/LBzb2zSN/ff8AxNOlLD/j5ugg/uJ/nNEm/H+k3Kxj+4n+c0kW0f8AHrak5/jfj/69ABFx/wAe1r/wOTj/AOvRLt6XN0Sf7kfFEvH/AB9XX/AI+P8A69LFuA/0a1CD+/J/nNABFvA/0a1EY/vPxTZPLzi4uGlb+4nT9KJNmf8ASLlpG/uJ/gKfH5uMW9ukKf3n6/lQAJ52P3MCQL6t1/Ko38gtiSWS5f8Aur0/IUP5O7E0z3D/ANxen6VKvn7f3ccdunq3WgAXz9uESO2T1PJqL/R2bkyXbj8R/hQfs5bDNJdP6Dkf4VL/AKRt/wCWdsn5n/CgA/0jbyY7ZPzP+FRL9n3fIkl0/wDePIH9KB9nLfKsl0/qeg/pUjeft/eSR26ei9fzoAH8/bmWWO3X0XrUaeTuzDA87f336frQnk7swwyXD/326fmakk83GZ7hIF/up1/OgAk8zGbi5WFf7qf40yPYD/o1sXP99+P50ReXn/R7ZpD/AH36frTpdwH+k3QQf3E/zmgAlyP+Pm62/wCxHx/9ekiGP+PW1x/tycf/AF6Isf8ALra9f434/wDr0SkA/wClXRP+xHx/9egAk25xc3RY/wBxOP5UsXmYxb2yxL/efj9KIt4H+jWyxj++/wDnNNk8vP8ApFw0rf3E6fkKACTys7Z7h5m/uJ0/Snp523EMKW6+rdfyoj87biCBIE/vP1/Ko28ktiWWS5f+6vT9KABvILfvJJLl/wC6vT8hUo+0bflWO2T35NC+ft+SOO3T1PJqI/Zy+GMl0/p1H+FAB/o5b/lpduPxH+FSnz9vzNHbR+g5NB+0beTHbJ+Z/wAKiHkFsokl0/qen+FAAvkbv3ccly/95uR+dSP523M00duvovX86H87b+9lS3T0Xr+dMTyd2YYXnf8Avt0/M0AJH5W7MFu8zf336frUknmAf6RcrEv91OKJfMxm4uFhX+6nX86ZFsz/AKPbM5/vyf8A16AFi2g/6Nalj/fk4/nRLkf8fN1j/Yj4/wDr0su4D/SboL/sR8f/AF6SLj/j1tcZ/jfj/wCvQAsWR/x7WoX/AG5OP/r02TZn/Sblnb+4nH8qJducXN0WP9yPj+VOi8zGLe2WJf7z9aAFj8zH+j26wr/efr+VRyeTuxNO87/3E6fpSyeVn9/cPM39xOn5Cnp523EMKW6erdfyoASXd/y83QQf3I+P/r0kX/Tta4/25OP/AK9EWP8Al1tf+Bvx/wDXolx/y83XP9yPj/69ABLtB/0m6LH+5HxTovMxi3tliX+8/Wki3Af6NbLGP7z9abL5ecXFw0rf3E6fkKACTy92J7h5m/uJ0/IU9PO24hhS3T1br+VEfm7cQQJAvq/X8qjfyd2JZZLl/wC6vT8hQAN5G7Ekkly/91en6cVKPtG35Vjtk9+TSL5+3EccdsnqeTUZ+z7+WkupPQcj/CgA/wBHLf8ALS7f8wP6VKftGz5mjtk9uTQftGzkx20f5n/Coh5Bb5Ukun9T0/woAF8jdmOOS6f+8eR+ZqSTztuZZkt09F6/nQ3n7cySx26ei9ajj8ndmGB7hv77dPzNACx+Vn9zA8zf336fmadL5gGbi5WJf7qf40snmYzcXCQr/dTr+dMj2Zzb2zOf+eknT9aACLb1trUsf778fzpZc/8AL1dY/wBiPj/69LLux/pV0EH9yPj/AOvSRf8ATra4/wBuTj/69ABFn/l1tQv+3Jx/9ekl2Zxc3TOf7icD9KWXb/y83RY/3I/85pYt4GLe2WIf3n60ALH5mMW9ssK/3n6/lUb+VuxNO87/ANxOn5Clk8rdi4uGmb+4nT8hT087biGBIF9X6/lQAJ52391DHbp6t1/Koz9n34eSS6cdh0/wobyC2JJJLl/7q9P0qUeft+RY7ZPU8mgAH2jb8qx2ye/JqIfZy3Akun9+QP6Uf6Pv/wCWl1J+Y/wqU+ft+Zo7aP8AM/4UADeft+d47ZPQcmok8gtmKKS5f+83T8zQvkFvkjkun/vN0/OpH87bmWZLdPRev50AEnnbczTpAnovX86ZH5ecwW7St/ffp+Zoj8rOYIHnb++3T8zT5PMx/pFwsI/up1/OgBJd4Gbm5WMf3E/zmki2j/j2tSf9t+P580ke3P8Ao1qWP9+T/wCvTpcj/j6usf7Ccf8A16AEl4/4+rr/AIBHx/8AXpYtw/49rUJ/tycf/XpIs/8ALta7f9uTj/69Eu3/AJeLkuf+ecf/ANagBJfLzi4uWkP9xOn5Cnx+btxBbrCv95+v5UkfmYxb26xL/efr+VMk8ndtnned/wC4vT8hQAP5O7Esz3D/ANxOn5CpF8/biOOO3T1PWhfO2/uoUt09W6/lUbeQW/eSSXT/AN1en+FAAfs5bDNJdSeg5H+FS/6Rt/5Z2yfmf8KB9o2/KsdtH+Z/wqIfZ93HmXUn5j/CgAH2ct8qyXb+p5H+FSt5+395JHbp6Dr+dB8/b87x2ye3JqJfJLfu45Ll/wC83T8zQAJ5O7MML3D/AN9un5mpJPNxme4SBP7qdfzofztuZpkgT0Xr+dMi8rObe3aZv779PzNABH5ec29u0jf89JOn606XcObm6CD+4n+c0S+Zj/SblYh/dTr+dJFt/wCXa1JP9+Tj/wCvQARY/wCXa1P++/H/ANeiXH/L1dc/3I+P/r0S8f8AH1dY/wBhOP8A69LFux/o1qEH9+Tj/wCvQARbwP8ARrZYx/efg02Xy92Li4aVv7idPyFEuzP+kXLSH/nnH/8AWp8fmAYt7dIV/vP1/KgAj83biCBIF9X6/lUbeSWxLNJcv/dXp+Qofyd22aZ7h/7i9PyFSL5+zEUUdunq3X8qAFXz9v7uOO2j9T1qL/Ry3JkupB+I/wAKD5Bb5mkun9B0/wAKl/0gp/yztk/M/wCFAB/pGz/lnbJ+Z/wqJfs5b5Fkun9TyB/SgfZ93yrJdSep5H+FSN5+3MkkdsnoOtAA3n7f3ksdunovX86jTyd2YYHuG/vt0/M0J5O7MUMlw/8Aebp+ZqSTzduZ7hIF/up1/OgBJPMxm4uEhX+6nX86bFszm3tmdv8AnpJ/9eiLy85t7dpT/wA9H6fmadLvH/HzdLGP7kf+c0AEu4f8fV0FH9xP85pIuP8Aj2tcf7b8f/Xoix/y7Wp/35OP/r0S4H/H1dE/7EfH/wBegBJduf8ASbosf7kfFOi34/0a2WJf7z9fyoj3Y/0a1EY/vvx/9emyeXnFxcNKf+ecfT8hQASeVnFxcPM39xOn5Cnp523EMKW6erdfyojEuMQQJAv95+v5VG/k7sTTSXL/ANxen5CgAbyC2JJJLl/7q9KlHn7flWO2j/M/4UL5+z93HHbp6t1qI/Zy3zNJdv6Dkf4UAH+jlv8AlpdSfmP8KlP2jZ8zR2yfmaP3+3rHbR/mf8KiH2fd8iSXT+p5H+FAAvkFv3ccl0/95ulSP523M0yW6ei9fzofztv7yWO3T0XrUaeTuzDC87/336fmaAFj8ndmCB52/vv0/M0+TzAP9IuViX+6nX86JPN25uLhYV/up1/OmReWDm3tmkP/AD0fp+ZoAItuf9HtSx/56ScUsvH/AB9XWB/cTj/69LLu/wCXm6CD+5Hx/wDXpIuP+Pa1x/tycf8A16AFiz/y62u0f334/wDr02XaD/pN0Xb+5HxSy7R/x9XRJ/uJx/Lmli8zGLe2WMf3noAWPzMf6PbrCv8Aefr+VRyeTuxPO87/ANxOn5Clk8rP7+4eZv7idPyFPTztuIYUgT1br+VAAvnbcQwpbp6t1/Koz5Bb95JJdP8A3R0/wobyd2JJJLl/7q9PyFSjz9vyJHbR+p5NACD7Rt+UR20f5n/Cox9nLdJLqT8x/hQfs5bnzbt/zH+FSn7Rt+Zo7ZPbk0AB+0bcs8dtH6Dk1EvkFv3cUly/95un5mhfI3ZjjkuX9TyP14qR/O25lmjt09F60AD+dtzNOkCei9fzpkflZzb27zN/ffp+Zoj8rdmGB53/AL79PzNPk8zGbi4WJf7qdfzoASXf/wAvFysQ/up1/PrSRY/5drUk/wB+Tj/69JFsz/o1qWP/AD0f/wCvSy5H/HzdBf8AYj4/+vQAS8f8fV1/wCPj/wCvSxbh/wAe1qEH99+P/r0kWf8Al2tQv+3Jx/8AXol2Z/0m5Ln+4nH8qAEl2ZxcXLSN/cj/AMBT4/Nxi3t0hX+8/X8qI/Mx/o9ssQ/vP1pknlZ/fzvO39xOn5CgBH8ndiaZ7h/7i9PyFSr5+3Eccdunq3X8qRPO24hhjt09W6/lUbeRuxJJJdSf3R0/woAD5Bb5mkun9ByP8Kl/0jZ/yzto/wAz/hQPP2fKsdtH78n/AAqL/Ry3SS7k/Mf4UAA+zlvlWS6k9TyP8Klbz9uZJI7ZPQcmkP2jb8zx2ye3JqNfI3ZjjkuX/vN0/M0ACeTu/dQvcv8A326fmakk83bme4SBf7qdfzofzsfvpkgT0Xr+dMj8vOYLd5m/vv0/M0AEXl5zb27St/ffp+tOl3D/AI+boRj+4n+c0S78ZuLlYl/upx+tJFtB/wBGtST/AM9H4/8Ar0AEXH/Hta8/35OP/r0S4B/0q6J/6Zpx/wDXol/6errH+xHx/wDXpYt2P9GtQg/vycf/AF6ACLcB/o1qIx/ffj/69Nk8vOLi4aVv7idPyFEmzOLi5aQ/3E/wFPj83H+j26Qr/efrQAR+btxBAkC/3m6/lUb+TuxNNJcP/dXp+Qofyd2Jpnnb+4nT8hUieftxHFHbp6tyaAGzcf8AH1dY/wBhOP8A69LFu/5dbUIP78nH/wBekiyP+Pa1A/25OP8A69JLtz/pN0WP9xOP5UAEuzOLi5Zz/wA84/8A61PjEuMW9usK/wB5+v5UkfmYxb2yxL/ef/CmSeVnE9w8zf3E6fpQAP5O7E0zzv8A3E6fkKlTz9uI4o7dPVuv5Uiedt/cwpbr6t1qNvI3fvJJLp/7o5FAAfILYd5Lp/QdP8KlH2gp/wAs7ZPzP+FA+0bflWO2T1PJqL/Ry3/LS6kH5f4UAA+z7/lEl0/qeR/hUrefs/eSR2yeg5NB8/Z8zR2ye3JqJfI3ZjjkuX/vN0/M0ACeSWzFFJcv/fbp+ZqSTzcZnnSBf7qdfzofztv76ZIF9F6/nTI/KzmC3eZv779P1oAI/Lzm3t2lb++/T8zTpd3W5uhGP7idf8aJN4H+k3KxD+6nBpItoP8Ao1qWP99+KACLGf8ARrXP+3Jx/wDXolwP+Pq6/wCAJx/9eiXj/j5usf7EfH/16WLIH+jWoX/bk/zmgAi3f8u1qEH99+D/AI02Xy84nuWlP9xOn6US7M/6Tcs5/uJ/9anx+ZjFvbrCv95+v5UAEfm7cQQJAv8Aefr+VRv5G7Esz3D/ANxen5Ch/Jziad52/uL0/SpE8/b+6ijt09W60AKvn7cRxx26ercn8qiP2cthmkun9ByP8KG+zlvneS6f0HI/wqT9/t4Edsn5n/CgBf8ASNn/ACztk/M1EPs+/KrJdP6nkf4UD7OX+VZLqQfl/hUjefty8kdsnoOTQAreds/eSR26ei9aiTyd2YYXuH/vv0/M0J5O7MUT3L/3m6fmakfztuZp0gX+6nX86ACTzMZuLhIV/up1/OmReWD/AKPbNI399+n5miPy85t7dpW/vv0/WnS78f6TdCMf3Y+P/r0AEu4f8fN0EH9yPj/69JF/07WuP9uTj/69EWB/x62pJ/vycf8A16JeP+Pm66/wR8f/AF6ACXb0urok/wBxOP8A69LF5n/LtbLGP7z8H8qItwH+jWojH99/85psvl5/0i5aVv7idPyFABJ5e7E9w8zf3E6fkKfH523EMKQJ/ebr+VEfm4xBbpCv95+v5VG/k7sTTPcN/dXp+lAA3kbv3kkly/8AdXp+QqUfaNvypHbR+p5NIvn7f3ccdsnq3JqM/Zy3zNJdP6DkD+lACfuC3Jku3/Mf4VMftGzlo7ZPbk0f6Rt/5Z2yfmahHkM+VWS6kHc9P8KAFX7Pu+RJLp/U8j/CpH87b+9mjt07Bev50N5+395JHbp6L1/Oo4/J3Zhhe4f+83T8zQAqeVu3QwPO/wDffp+Zp8vmAZuLhYl/up1/OiTzcZnuEhX+6nX86ZF5ec29s0h/vv8A/XoAWPaD/o1sXP8Affj+dEuR/wAfN0F/2I+P/r0su7H+k3QT/Zj4/wDr0kXH/Hra8/35OP8A69ACxZ/5drXb/tycf/Xpsu3P+k3JY/3E4/lSy4H/AB83ROf4I+P/AK9LFvxi3tljH95+tACxeZj/AEe2WJf7z9fypknlbsTTvO39xOn5CiTy84uLhpW/uJ0/IU9PO24hgSBf7zdfyoAE87biKGO3T1br+VRt5G755JLp/wC6vI/LpQ/klsSSyXL/AN1en6VIv2jb8iR2ye/JoAUeeV+VY7aP1PJqL/Ry3/LS6f8AMf4UH7OW5Ml0/wCYH9KlP2jbyY7ZPbk0AB+0bMs0dsntyaiXyN37uOS5f+83I/M0KIS2Y45bp/U9P8Kmdbjb+9kS3T0Uc/nQA1/O25mmS3X0Xr+dRx+XnMFu8zf336fmadGse7MNtJO399xx+Zp0nm4zcXCwr/dTrQAkm/H+kXKxL/dTg/nSRbQf9GtSx/vvxSRbc/6NbM5/56P/APXp0ucf6VdBf9iPj/69ACS8f8fV1j/Yj4/+vSxbv+Xa1Cf7cnH/ANekiyP+PW1x/tycf/XpJducXN0WP9yPj+VABL5ecXFyXP8AcTj+VPj8zGLe3WFf7z9fypIvMx/o9ssQ/vP1psnlZxPcPM39xOn5CgBJPJ3Ymnedv7idPyFSJ5+3EcUdunq3J/KhPO24hhS3T1br+VRt5BbEkkly/wDdXp+lAAfs+75nkun9ByP8Kl/0gp0jto/zP+FA+0bflWO2T35P+FRf6OW/5aXb/mB/SgAHkFuFkun9eo/wqVvP25eSO2T0HJoP2jZ8zR2ye3JqJfILZjjkuX/vN0/WgATyN37qKS4f+83T8zUknnbczzpAvonX86H87b++mS3T0Xr+dMj8rOYLd5m/vv0/M0AEfl53W9u0rf334H606Xdj/SboRj+6nBol8zGbi5WJf7qdabFtz/o1qWP/AD0f/wCvQAsWAf8ARrUk/wB+Tj/69EuB/wAfN1/wCPj/AOvRL/09XWP9iPj/AOvSxZH/AB62oUf334/+vQARbsf6NahB/fk6/wCNNk8vOLi5aRv7if4CiXZnFxcs5/uJx/Knx+ZjFvbrCv8Aefr+VABH5uP3FukC/wB5+v5VG/k7sSzPcN/cXp+Qok8ndied52/uL0/IVIvn7cRRR26erdfyoAF8/biOOO3T1PJqM/Zy3zNJdP6Dkf4UN5BbDvJdP6Dp/hUo+0beBHbJ+Z/woAD9o2f8s7aP8z/hUQ8gt8qyXT+p6f4Uf6Pu4El0/r1A/pUp8/b87x2yeg5NAA3n7cySx26ei8n86iTyd37mF7h/7zdPzNC+SW3RRSXL/wB5un61JJ5u3M06QJ/dTr+dABJ5u3M9wkI/up1/OmR7M7re2aRv778fzoj8vO63t2lP99+n5mnSlsf6RdLGP7kfX/GgAl3f8vN0EH9yPj/69JFx/wAetrz/AH5OP/r0RbQf9Gtc/wDTSTj/AOvRL/083XP9yPj/AOvQAku0H/Sbok/3I+KdEHH/AB72yxD+8/X8qItw/wCPa1CD+8/H/wBemy+XnbcXLSH+4n/1qACTy84uLhpm/uJ0/IU+PzsYhgSBPVuv5UR+btxBbpAv95+v5VG/k7sTTPcP/dXp+QoAH8gtiSWS5f8Aur0/SpF+0bPkSO2T1PJpV8/b+7jjt09W61EfIL/M0l0/oOn+FAB/o5bkyXT/AJj/AAqU/aCnJjtk/M0f6Rt/5Z20f5n/AAqIfZ93yrJdP6nkf4UAA8gvlI5Lp/U9KlfztuZZo7dPRev50N5+395JHbJ6Dk1Enklt0ML3D/326frQAR+Tn9xA87f336fmakk8zGbi4WEf3U60SebjM9wkK/3U6/nTIvLzm3tmkb++/wDiaACLZnNtbFyf45OP506XP/Lzdbf9iPj/AOvRLux/pN0EH9yP/OaSLj/j1tf+Byf5zQARf9Otrj/bk4/+vSS7c/6TdFj/AHI+P5UsuP8Al5uiT/cj4/8Ar0sW8D/RrVYx/efigBYvMxi3tliH95+v5VHJ5W7E9w8zf3E6fkKWTy87bi4eVv7idP0p8fnYxDAkC+rdfyoAE87biGFLdPVuv5VG3kFsSSSXL/3V6UP5G797LJcv/dXp+QqRftG3CRx2yep5NADZducXN0Sf7kfFLFvA/wBGthGP70nX/GiLcB/o1qEH9+Tj/wCvTZPLzi4uWkb+5H/9agAk8rOLi4aVv7idPyFPTztuIYEgT+83X8qI/N24gt0hX+8/X8qjfyd2JpnuH/ur0/IUAD+SWxLLJcv/AHV6fkKlXz9vyJHbR+/JpF8/b+7jjt09W61GfILfM0l0/oOR/hQAH7OW5Ml2/p1H+FSn7Rs5Mdsn5n/Cj/SNv/LO2j/M/wCFRD7OW+VZLqQdzyP8KAAeQWyiSXT+p5H+FSP5+397NHbp6L1/Olfz9uZJI7ZPQcmok8ndmKGS4f8Avt0/WgATyc7oIHnf+83T8zT5PMxm4uFhX+6nX86V/Oxme4SFf7qf40yLy85t7ZpD/ff/AOvQAR7c5trYuf8AnpJx/OnS5/5eroL/ALEfH/16Jd2P9JuhGP7kfH/16IEZj/odmSf77/5zTSbdkAkXH/Hra4/25OP/AK9JLtzi5uix/uR8fypVkt5HVbq/wGUN8qlUGcYDHtnP6GrcL6fZ26/a7izsZUkAdjKAHwATgt2INd9LLK9TdWM3ViimHMcRkht1hjBwXcZOfoOarm+0w3SW13fytK+NqeS4Xnp0Fa0Z8q4jjW5ee3uCbnzkIAUZBHzDgqR+daV7GtzZMI7loQwDLNGRxg5znpjj8q9GnlVGPxtv8DJ1ZPYwYNS0b7IstrcLKCfuAiNsc84bHpXP/wDCW6HcSLbNeW/2w3TqsZk3KYlc4LDPy5VWBPZlPtXZ3dhod0Jbq5t7KUJzJI+CF4B5PbjB+lef+HNI8M3mv3s1ra6LemG5vHUIFYbGYHAkB/vHkEYBY46CvRoYLCJN8mxjOpUurM7+E2e5JrSaCS3d1QhfmAyONuO5yvXtWg1vCww0SEe4rzDx/LpnhvSEudJsxdQyygCG3nYIrMpwcp2BH5MfQVV0Nodfk1G2j1a4s7rTLtlnAkbKllO7n+L5/MHHZgfStVgocvMlZehPtnfl6nda5PHaAQx3EryoN+1AMEh0cK2OR8uRn+7mszXdWtpr5bUalZ6ddBW22s6kSEgE89u2R7VmHQLmyup/J1e/tXi2vIyN5h3eYpzuPQFZGGDxgexpJvDdvda5p99d6xc3M9ow/eTwKG43ZDtxnbg/gapUaPX8hOc+h2NiYblbixEgS7jUOeQ21X5UjHVQcqP92rMWkWsYB+Z37uxyTXHweHtZh8VXOt2eoR+d9njtFaGMNCyL95WTPysH3H6HFX/7S8UTJOIYLG7ZkH7hJTE8asHAbJGchgB+BNc1TA0ZbJGkaslubU+n3D3PlrM4i27sgAc56Zqq1q0QL21uso5zKWyBjrzWTNrPioyXFldeG4XRduCl1uIyCQDjnGQOfZqT/hM76K1BuPCuqFH4Y2kO/YTjjBxkg7yf933rmnk1OXw6ejLWItuaMvABubrAIyFj4yP5mliyP+PW1Cj++/H/ANeqD+LLOWG2B03Vo1miCJJJZbeTgBiwyFxzxRc69oKmD+0NV+wq8Ue6OeN4z5jAEA8YGQRxmuCrk1ePwamixEHuXZdmcXFyzn+5Hx/KnR+Zj/R7dIV/vP1/KqEWuaK14lnY6lphlk/1eZwC/wBB1NXZPL3bbid5X/uJ/gK8upSnSdpqz8zaMlLZiSeTuxPO87f3F6fkKkXz9uIoo7dPVuv5UR+dtxDClunq3X8qjbyN2JJJLl/7o6fpWYwbyC3zvJdP/dHI/wAKlH2jbwI7aP8AM/4UD7Rt+VY7ZPU8mov9HZ/+Wl0/5j/CgA/0ctwJLt/zA/pUrefty7x2ye3JoP2jb8zR2ye3JqJfI3ZjjkuX/vHp+tAAvkFsxRSXL/3m6fmakfztuZ50gX+6nX86H87bmaaO3T0Xr+dMj8rdmCB5m/vv0/M0AEfl5zb27St/ff8AxNOl3gf6TdCMf3U4NEnmYzcXCxL/AHU/xpItn/Ltalz/AH34/nQARYB/0a1yf+eknH/16JeP+Pm6IP8Acj4/+vRLnH+lXQH+xHx/9elizj/RrUL/ALcnH/16ACLcP+Pa1CD++/H/ANemyeXnbcXLSN/cTj+VLLtzi4uWcn/lmn/1q53xd458M+Ebctq2oWtk2PliJ3TN9EHP51pSo1K0lCnFt9kTKcYK8nZHSR+bj9xbpAv95+v5VFMbdAWubhpcdecKP6V85+M/2i7qYvB4Z0vavQXN4f1CD+teaX3jbxV4ksdY/tfWrqZfsqssaNsRSJk6Ae2a+ownCGMqpSrNQX3v7l/medVzWjF2hqfWeq/EXwjpd0ljLrthDO7hFiibzXyfZeBXm+u/tF+F4GZdN0fUtVccB5mESfl1xXzn4ZAjvprzH/Htayy599pUfqwrMr6XDcH4Gm/3jcvnb8v8zzqmbVpL3bI+iB8dvGGvRxR+FNF02GcHE9u4Lugz98E8Ff5GuX+IPxJ+KematILrUfstrI5+zFIlKlfY+tct8H9WttJ1q9mvF2WzW37yc9IsMMZ+p4rp/iB4l07WrFNP0KS01C6ifzikiZBXBBCZ6tz0rthlWDoVlGFCNu7V/wAWZPE1Zwu5u5x9x8UPiBcff8YamB/dSUKP0FUpPHPjKUhpPFGque2ZzVI65fKcLDZxkdQLZRij+39V/huET/diUf0r1o4SjHanH7l/kcjqye8macPjrx4p/c+KNaz/ALMpNdHpHxU+IUIWO5vdTusdJljPmD9MH8a4Ztc1hv8AmITD6AD+lRtq2qN97Ubr8JCP5VM8DQmvepx+7/gDjWnHaTPefBXxA+I2q3pVtfWSyQbpBdWGyYeg9D9a63xB8U9a8NpazL4at9VikYrK0TlJFOOOvGOtfNvhPxbqnh/Umu0drtHXZJFNISGHt6Gt/wAc+L/7WvI9PvrZobDyo5o3gc+YrOgbd6H72MV5FfIcLUqrmpRt5K35WOunjqkYaSdz6A0D4z6FqRVdX03WtLY9Q0asg/4EprvdH1/RtRVf7JvLI7um+ZQx/wCA5zXwnqNndWsa3Edy11Zv9y4jY7fow/hPsaopLLHIJI5ZEcdGVyCPxrgr8G4SrrRm4/ivx1/E2hm9WOk1c/QqUR523Fw8rf3E4/lT4/O24ggSBP7z9fyr4q8IfFrx34ZZVtNYe6tx1gux5ikfU817F4N/aG0HUWWHxbY3Gnyn/ltCd8P5dRXzWN4Tx2GvKmudeW/3f5XPRo5pQqaS0fme3v5G7Esslw/91en6VKPtG3CRx2yep5NUNB1mw1ywW80K8sprRhnzInDEfUDp+NWj9n3/ADNJdSeg5H+FfNThKDcZKzPQTTV0B+zluTJdP6dR/hUv+kbOTHbR/mf8KP8ASNv/ACztk/M/4VEPILfKsl0/qen+FSMB9nLfIkl0/qeQP6VI5m25lljt09F5P50N5+395JHbJ6L1qNPJ3ZhhkuH/AL7dPzNAAnk5zDC87f336fmakk8zGbi4WFf7qf40Sebj9/OkC/3U6/nTI/Lzm3t2kb/no/T9aACLZ1trZnP99+P506XI/wCPm6Cj+5Hx/wDXol3Yzc3IQf3E/wA5pIsf8utqf9+Tj/69ABFx/wAetrj/AG5OP/r0S7Qf9Juix/uR8US4/wCXm6JP9yPj/wCvSxb8f6NaiMf35P8AOaACLeBi3tliX+8/+FNk8rO2e4eZv7idPyFEvl5xcXDSt/cTp+Qp8fnbcQwJAvq/X8qABPO24hhS3T1br+VRt5G7Ekkly/8AdHT9OKSRrcZM87TkclR0H9Km0Zv7VtRcabNbC13FfMQ7uQcEccdQa1p0alX4FcTkluA+0bcKsdsnqeTUaLFI+FWW8k9uR/hSazqnhbw/cxQ69q0UdxIu5FmJ5HqAKjT4ieB0Xamv2aj0AYf0r1KOS1prmktPJXMpV4ouPBqOw7YPLHZUGT+fQVg3o8XrL/oPhm0mOeJLu+/XAFaf/CxvBP8A0MVp+Tf4Uf8ACxvBP/QxWn5N/hXpUcphT3pOXrf9LGMq1/tG1pVjOtjGNRaNrnHz+UMKD6CsXxlrGl+G7eNUtReapdN5dnaqNzyuen0XPeqmq/Erw6lrs0W6GrajIdlvawKSzsenUcCpvBPhe5t7t/EXiORbvXbkcnqlsp58tPTHrXTDBUqXv1IJeVt/+AJ1G9Iss+B9G1a1t5b/AMQXz3OoXR3vCD+6tx/cQe3PNR+M/Etros8Gn6fYLqOtXWfItVHYYyzH+Ec07xv4q/sgxaXpcP27XLvi2tl7f7beiil8DeFf7HEupanP9u1q7w1zct26/Kvooya0VOH8Wol5Lv8A8Am7+GJlnUviIevhPRz/ANvp/wAK5/xFrXjDTbzTpNW0u00LTJJ8XV5aH7QwHGAQegPPNej+IPEWiaAsLaxqUNmJiRH5hPzY64x9RWPL8QvAsyGOXXrKRD1VlJB/SqhCMtfYpr0f/BE9PtGN4V1HVdY8Oa3qJWS9W3lk/s1inlfaVCAjI/3sim+GvF1prF5p2l6ZZSG8nRzenyyqWhUE/NnrkjA+orWn+JPgWzspJV1y08uJC2xFI4A6AYqn4X8Zy3Gt2NvqHh0aXFq4drGcEEy7VLHdjpwM/jWdTLqNRSlKjbt06fj30GqrVkpGtqbW1jdWltqF2Xnu2ZbeMcB2AyR+VTBLhRtSBLZPVhz+VZHxC/5HLwb/ANfsv/opq6XxczR+GNUkRirpaSsrDqCFODXl1cmptRcJWv8A52No13rfoZbfZy2JHkun9B0/wqX/AEgrwsdsnvyf8Kb4Lja/8FaVcSSEXEtnEzyADlioyarW9xa3Grahp8az3V3p7IJgw4+dQwI/A15lfLa9JvS6XY1jVi7E3+jluBJdv+YH9KlPn7cu8dsnoOv50N9ox8zR2yDt3qJfILZjjkuX/vN0/XiuA0BPI3ZjikuX/vN0/M1JJ523M06QJ/dXr+dD+dtzLMlunovX86ZH5OcwQPM399+n5mgAj8vdm3t2mb++/T8zTpd+P9JuRGP7if5zRL5gH+kXKwr/AHU6/nTYtoP+jWpY/wDPSSgBYto/49bUnP8AG/H/ANeiX/p5uv8AgEfH/wBeiXI/4+rrb/sR8f8A16WLIH+i2u0f35OP/r0AEW4f8e1qEH9+Tj/69Nl8vOLi5aRv7if4CiXb/wAvN0XP9yP/AOtT4/Mxi3tliX+8/WgAj83GLe3SFf7z9fyqN/JLYlme4f8AuJ0/IUSeTuxPO87f3F6fkKkTztv7qFLdPVuv5UACeft/dxx2yep61Gfs5bDNJdP6Dkf4UN5Bb55JLp/7q9P8KlH2jb8qx20f5n/CgCOTbnFzdFz/AHE4/lT4/Mxi3t1hX+8/X8qSLzAMW9ssQ/vPTZPKzi4uHmb+4nT8hQAP5W7E07zt/cTp+Qp6edtxFDHbp6t1/KiPzsYhgSBPV+v5VG3klsSSyXL/AN1en5CgAbyN/wC8kkuX/ujp/hUo8/b8qx20fvyf8KF8/Z8ix2ye/JqL/R9//LS6f8x/hQAD7OW/5aXT+vb/AAqU/aNuWeO2T25NB8/Zy0dtH+Z/wqJfI3ZSOS6kH8TdP8KABPI3ZjikuX/vN0/M1I/nbczTpAnovX86V/O25lmS3T0Xr+dRx+TuzBA87f326fmaACPy85gt2lb++/T8zT2WRiFnuBHuIAROMk8AZpl+11b2puZ4buSIclLSMM2PxIryf4k/GWHwJq4ttLjsNdjuczKkqNHLbYIXYx78hiD+HavWy7J6+NkuVaHPXxMKKvJnscUVnBbNchTNsxuSMbnxu2k+vHP5Gtj7ND5kbhSDGSVwcdRjn1rzj4bfFzw/4v0W71CNUt7u3eOKS2/jJbpjPUdTntg10MHjbQb7yWjvJEjwr+YoIDMTt2DjnnI/L1r2oZd9WbioWaMVXjNXuamurbKm+aFJopxseMD5pG42kHpgLvNcd8SfAreM7C00i6vLuySOVpYp+JSCVYYz2xgEflW3Z+INOFnJZW2hazJAIy+wW+chtpZR83UeYMjsM1Lda14hVd1j4bM9uRujYzBTt25wR6njH5V003UpyTjo0RJRkrMZoOkWdlomn6e8T3NqsCQwSu3zogiUYbHA6Vf0hgtrLZjaimE+Upm3ABfkI9scZ+tY5m8SwvPG2gW8FjKB5gM/mBX6FlVeQmAOOo5NOvrTXbiLy1k021kuQ6iRYGYSK3JXJPBIwR7qaGrvVgnbZHDfHTQNe0P4W3sfhQ3s0lzcI92kR3OARhj7rt+U/QGvAPgjZ+IofHNobHS9SV1d3uyiMEnhUjzEYdDztHHfFfVFzHrEmnKG8Rak5vsxNAbROGU7XQN/CcA8dyD61DDoMNstrdW95qEi5kjuYkwpxGRGwOMDj5ue+F67a9PD472NGVJpO/U5KuH56imnax2dv/YaQy2Ma20CbcyQkBONuOn0Xt6Vy/h3S9O0LxNqGpf25aSx3rrPmWZSYxtIzn/bBByf7ta9v4T0G9jhu54ZrmUN5glldg27IJ47AlenTr61iReE9N0fVkhaxtNRSSFkUTRhGEQCgIW+6QOTyK82DjZq71OuSejsdANY0G1uJ1uL+2eS5cjgM4ZQSNp6jglvzrLHiLTFSSFvtdzIHZN0dsXWNm3AkA9QT2PqKs6RJYW1u+jM0Frd586NXUqpYYbPptyMgA8jPvW0GtY9RlKTJ53lF0QLhQOjEkdTkD3FR7q6D1ZzEPiKRj9p03Q7qYTTiZMxmNdxQq+SOp4HJ9faquq+IdVt9RjtrrT7GK5kD28K3N15bzh84wR6EIP+B12ccdx/ZsUNuwYGA/Pv53YGMH068/SqGtaDpt5qWm313HA1xbXHmxGUZO/aM4P+6p46d+1VGcL6oTjK25mafqniG6niE0NnphdRzIhckYJCMezYZT+dXGtdXmVY28RG2mO6X5YMco2Dw38BzyPoRVfxOreLNI/s/Rbz7M8gWUXDJ/AUBDKDz0YfSpfDGh3emaZa6fq1zLq13bb5Y72TIDnAXDDtkHGO+CaHa19n2BXvYitdJ1CSEQf2tf3tuRKSJAqRsGBGwkclc9D6Yqn4h8CWGsadFZao15em2UyBmclJsFtiuueWGQfqK6aOELZJJZ3McEiKIjuO5MjI28/7R69eKd/xNLVJFXybiNSDG0jkOV287j65/Q1KqyTvF2G4Ra1R5f8AFH4QeGvFekWlzpRk0i7s45JYrq3U7cDblW7jocY96xvh3Z/EPwx4KTUp9Ui1+B1ZorOdcOqgZ3CX6dj3ruvGfiTW7O8thpulXt3aOB5ssZURwsxQKP8AbGQ+c92A6GsPT/E2h6L4E0Szv9eXTvNgUraEAvtLE7kbuoyCAf4Rg811vnrUFSqJSjfZ69/mjBxhGo5R0Z11hdWmoWS3kc8l0M4eMcGNv7rL2PB/KrSifbiOOO2T1PJrK1fR72G8/t7w7DbiWRXOoQs4K3qhshcg/K3LMO3ODTtQ1/RI9Li1SeO5ihLIjrKQBHuZUBI9NzD8AT2r5nFZQ/iw+q7dTuhX6TL5+zlvmaS6k9ByP8KlP2jbz5dtH+Z/wqGyufttlHdWksMdrIu5HXnIpR9nLfKsl0/r1H+FeI04uzOlO4DyC3ypJdP6np/hUjeftzJKlunovX86VvP2/PJHbp7cmok8ndmKJ7h/7zdPzNIBU8ndmGF7hv77dPzNOk8zGbi4SFf7qdfzpZPN25nnSBPROv50yPy8/wCj27St/ffp+ZoAI9mc29s0h/vycfzp0u4f8fN0EH9xOP8A69Eu8DNzciMf3E/zmopJoLWCS58tIYY13PPO21VHqSaaTbsgJIuP+PW1x/tycf8A16wPHXjDw/4PsBeeJdWERYHyraL/AFkpHZV6n615b8Q/jrDHDqNv4UYXX2VApvWXERkZsBUH8XRjk+leDax4u1DxFfPP4m/4mCv0I+V4fdD2+nQ19flXCdavapivdj26v/I8rFZpCHu09X+B6B8QPj34g1jzbLwvANCsGyPMX5riQe7fw/hXj91PPdXD3F1NJPM5y0kjFmJ+pq7faY0UH2yzlF3Zf89FHzR+zr2P6VnV+hYLBYbCQ5cPFJfj8+p4NatUqu9R3CtTQubfVV9bFz+TKf6Vl1qeHfmmvY/79hOP/Hc/0rqn8JlHcLD9z4f1OfoZWit1/Elz+ifrWYis7BEUszHAA6k+lad3+58N2EXQzzSzn6DCL/6C350/SwNNsTrEgHnsTHZKf738Un0Xt7n2pJ2TY7Cauy2NqujQsCysJLxx/FL/AHfovT65rLRmR1dGKMpyrKcEH1pCSSSSST1J70lVFWRLdzaDwa4AszR2+p9FlPypcezeje/esmeGW3meGeNo5EOGVhgg1HWtBeW+oQJZ6q+yRBtgvMZKeiv6r79RU2cdtitzJoqxf2dxY3BguE2tjKkHKuOxB7iq9WnckK1Nd+e30u4/v2SqfqjMv8gKy61L3954c06TvHNNF/6Cw/mamW6GtmVdOvrmxkZoGG1xiSNxlJB6MO9XTZ2mqAyaV+5uerWTt1/65k9foeayKUEgggkEHII6ihx6oExXVkco6lWU4KkYINNrXS/ttQQQ6xkSgYS9RcuPZx/EPfrVPUdPuLFlMm2SGT/VTRnKSD2P9KFLowa7E2ga5q+g3gu9G1G4spgckxOQG+o6Gvefh5+0S2ItO8YWqQjhf7QtY/1ZP6ivnWiuDH5VhcfG1aF336/eb0MVVoP3GfoDpGpaPrFnHf6XeLq0MgBWSJty/j6fStBvP2/M8dtH6Dk18HeCfGXiLwdqIvdB1GS3JP7yEnMUg9GXpX098KPjD4d8XiKx1GP7DrpwPJlf93MfVGPH4GvzrN+F8Rgr1KXvw/Feq/VHv4XMqdb3ZaM9OXyS2Y45Ll/7zdPzNSSedtzNMkCei9fzpZPPx+9mS3T0XrUUflbswQPO399+n5mvlz0hY/Kzm3t2mb++/T8zTpfMx/pNysY/up1/Olk8zGbi5WJf7qdfzpkWwH/RrYuf778D9aACPGc21qWP9+Tilm4/4+rrH+xHx/8AXpZcj/j5ugv+xHx/9eki/wCna12/7cnH/wBegBYtw/49rUIP778f/XpsuzP+kXLSH+5H/wDWol25xc3RY/3E4/lU1rDPJxa2qxDu8nFVGMpO0VqDdhkYlxtt7dYV/vP1/KrcGlPMQ11K7D06D8qpax4ZvtR8vy/EV9Y7eotsLuPvXKeL9F1nw3Y2epweLtXnYahbRtHK4KurSqrA8ehr38Fk8J2dWWr6a/mc1Su1sj0j7DaLD5fkIV7jHWuP+CSqng6VEUKo1C7AA6D9+9dshLQIx6lRn8q4r4K/8ijN/wBhG7/9HvXrUoqFCUYrS6/UybvNf12IdVtre5+M9klxBHMo0dyA6gj/AFg9a7D+x9J/6Btp/wB+l/wrlbv/AJLVZf8AYHf/ANGCr/xVvLyx8EXs9hcvbXG6NFlTqu51BI/A1rJSk6cU90iU0k2bf9j6T/0DbT/vytH9j6T/ANA20/79LXJW/gnU5LeOQ+NtdyyAn94PT6VJ/wAINqX/AEO2u/8Af0f4VPLH/n5+Y7vsdZBpun28gkgsbeNx0ZYgCKwfHHir+yPK0vS4ftut3fy21svO3tvb0UHFUf8AhBdS/wCh113/AL+j/CtTwp4RsdBuLi9a4uL/AFC4P727uW3SEegPYUJUovmlLm8g956WsQeCvDC6LHLqurXAvNZuhvurp+i99q5+6o5rX0fxDomsTSw6XqdtdSRf6xY2yV/zik8W6bNrHhrUNLt5jBLcwNGkg/hJHWvNPhhp+oX/AIsivH0q00iPQEksJxA+TcyEDr7D+pqlBVoSqTeq/r/gCb5WopHReN4Ibj4leEI54klTZd5VxkfdTtXX/wBjaT/0DbT/AL9L/hXKeMP+SneD/wDcu/8A0FK3vHt1cWPgvWry0lMVxDYzSRuOqsEJB/OlLmcacU91+rGre8/62LNzoOi3FvJBLpdo0cilWHlLyD1rE8O+AdI0XVYdQjuL65a2DLaJcTF0gDAg7R26msnRPCGq32j2l5J401wPNCsjASDGSM+lXP8AhBtS/wCh213/AL+j/Cq+C8fafmLfXlG/EH/kcfBv/X7L/wCimro/GX/Ip6t/15Tf+gGsCw8A+Xrlhqt/4h1XUXsXZ4Y55AVDFSCfyNb/AIy/5FPVv+vKX/0A1MpRvCMXe3+Y0nZtlX4cf8iJon/XlD/6AKyfCP8AyUzxh/vWv/okVrfDj/kRNE/68of/AEAVk+Ef+SmeMP8Aetf/AESKfWr/AF1Qv5f66EfxN8QWui6p4ehe6tYmur4RzrIMkxFWyfbnbzXQ3FpcMvmQzJ9nIypQZJFcV438L67L4o1DULDR7HV4dTtltwbmUKbQgAZGe3GeO4Fdt4Zs28P+EbCxvroObG0SOWZjwdqgE/pXHjMBh6tKLXxeX9dNtS6dSSk+xnp5O7MUL3Dj+J+n5mpJPMxm4uEhX+6nX86ytF1jUfFmuzTaXEtv4fgBjFyy4e4kz1T/AGffvmtea2a2m2LatI//AD0Y8fnXzuMwFXCu0v69TqhUU1oRReXnNvbNIf778fqaWXcP+Pm6Cf7EfH/16WXcBm5uhGP7qcf/AF6SLA/49bUk/wB+Tj/69cJYRetta4/25OP/AK9Eu0f8fN0T/sR8f/Xol4/4+br/AIBHx/8AXpYt3/LtaiMf35OtABFvx/o1ssY/vvTZPLzie4eZv7idPyFEnl5xcXDSN/cT/AU+PzcfuLdIV9X6/lQAJ523EMCQJ/ebr+VRt5BbEksly/8AdXp+Qofyd2JpnuG/uL0/SpV8/biOOO3T1PJoAB9o2/IkdsnqeTUX7gtyZLt/zH+FB+zlvmaS6f0HI/wqX/SNn/LO2j/M0ARy+XnFxctIf7idP0p8fm4xBbpAv95+v5UR+ZjFvbrCv95/8Kjk8ndiad53/uJ0/SgAfyd376Z7hv7i9PyFSr5+3EccdunqeTSJ5+3EUUdunq3Wo2+zlvneS6f0HI/woAD9nLfM0l0/oOn+FS/6Rt/5Z2yfmf8ACgfaNnSO2T8z/hUQ+zlsgSXT+vUf4UAA+z7vlWS6f1PI/wAKkbz9uZJI7dPRetK3n7fnkjtk9ByaiHkZLRwyXLAZLHkUJXAI/JL5hgkuH/vN0/Wob7WLbSnSXUrqGNCxCRRoZGZlYBlwuefmXr61m6zqOoCF5k1G1sbRT5eFYiR3PG3J+6eD0Ge9ZOkaHJq0pktp5tPhaVS89w5knnD5GeOOR8wY9Ccdq+kwGVRivaV/uOOrXd+WA678b6nNBcWmi6SuoSRgzQvLJiLym7t6rg/mcY4rzz4o/BzxX4saLxNq3iCEywxrAY5IRGyxAjnjgtuaQ+/GK9u0rwzaWZcyW8dvK6lzLGoC+ZyocjoWxtOMYzWpromj8PlZWE0yhAzgBSWyMsB69wK92li3QmnRVjlnQ9pFqoeF/CfwW/gbQtTvY4bTW9R85IbjT3iKSIy/L8jngkrJuJHUYA5r2LRfEujapEYFtpLO7VWE0M1ttMJAzk8Yxxwe+KjkaysvGS2L2u621uLzlZnyPOjHOAfukrsPH901Jqul2t1IIJyVaB28m9hJEkHKYQ+pwcc54xU163t5c1Td9SqVP2a5Y7I0juM9ttWWFxuTzBGAJD/ENvbITIPuKtQTyR2wLwXDhY0wSAXcnrkdiO9c0moeIdDuJRqKTavaZZY7iJFU53AqCo78sv8AwAetdHo+q6frFqbiwuFmRTtcDgo3dSOxrllFpX6G0Wmx1zcWv26G2mVjLnchwdoODjn6A1RlTybe6jMbtayRFopbcligCkcehwBjHUk1Zm+z/wBlxfZo53hiZVVYs7gFOO/JHHPqK5Xwro+saTpupf2trd7eOkRMCtlY0TDAYxyTjr6GnGKs3cUm7k95cvHrMkj7LuySECRAjAb2x8w7ZIJP41P4y1SxstRtNNvbGe7iv0MflxqSBgO2euCeDx3wadFBI2m/a5Vluo72WQ7lyJoY3ztGOh2gkflTtPS3sv8AQ7xkkglVWtrxEwd21YzzzhjkYx6mr0v6E6k3hu5ubeFrAyy38lsPLckcgqcDJ7ZHOPY1V8VeK9D024tEvLyBHkjMyRSAhmUAE59Plbp64purQtpeqx3Bl84Tq0YYS+W28smAcdSc9frXnnxu1jSdJksGu9Oe5kjYPZSQNvEaCMcYP3sjbx3wxrSjRVWol3JqVOSDPT7uDR7jThbmQ3UWWVIgCcSFgy5xypGePYmuKsfF1vrNtdQaddtvOTJavGUMbeZuyjfxEnPHt7V03hKTWU8H2k+otALqVVee5jwoAVzlnzwR5YUevBqDSfDen6bqDz6Wy20k7KzeZGSWLjlh6HIJHYZPrSi4xupa9gd3axN4YurnT9It9F1DV5DfCU/6RcIWeVHBkUrjjjlf+A1tyZmA+y7b+LBhuQz4b7uAV7Z5OfrVaXzNStY4w5Z4UR5IxtUTKTyOOnAP506CMQSC40y4aCAoxeGZD5a7fvZ7qeR+RrKTu79TRaaF0LC9nstJjLcW8XysMbmYAqM+vIP5U+aZBJBbXwAE2zyjzlpRliOOmNoP51ydx4zSHW7DR9Q0WQG4lCNcRviNWDH5x3K5wfxresZBc2YgsIpUJKy+bO55YFCwPfPOD9DSlTcdwUk9hbO4UvItzBJMoC+W6/Msq787/TIJBP09quRXscZmiYyTNvJQD5y6sCwxjt1A/wB2ufGswXXiG40C6huHaMc7ciP+D7o74bB+ma2lurWMLp9zEyKUMbMQACFDYzjpkKSKJRtugTKV/I50+/RLB43LsrJt3JtBGGx/eIYHHsfSvGNO8B2PxB8KaTOs0lo1hA8e+WLCTKSAVDHoVZdp6fzr2PxZLixvBHIygW7sqtllIjCneuDwRu79T16UeGNPaLwxYRrYqHVCvkzcLE2DuOB95SwyPY10Uq0qMOaOjuZTpqpKz2L9vp9nbzw2zSxxuWM0UK8Z+ULJ9QScn61zXjjwraYub6ziM01ypM1gfu3oQBhCP7pOzg9smunvZllh3XWmMxSTy+cbipGGZO+P6VyWpa9qtr4ij/tiP7JpIRozejlEc/ccg/dYbgD9fasqXPe6Zc+W1mZHg/QID4kfWLLWNSt4Nwt7jRjBuj3IgXPseM5HXBPeu4lWbZvWRIbc/dbbgkfj0rL1W1e/ni1rQ57ea92MtykYYx3CfMuwgdsnJPXIFTeGdWtdQsru3CvHqccYe4srnLFWUlSw7sOMfgK5Mwwaxa5/tL+tf8yqM/Z+6Tr5Bb93HJcv/ebp+ZqR/O25mmSBPRev51PeQSKC6zrHb+oHI9j6VUTyd2YYHnf++3T8zXylSnKnJxktTuTTWgR+VnMFu8zf336fmafL5gH+kXKxD+6nBpZDIBm4uEiX+6nWuS+Injvw/wCA9GOoX0bTTyAi2gz+8nb2z0HqaqhQqYioqdNXk+gpzjCLlJ2Ro+LfFGh+ENFl1jU2EMCcKX+/K3ZUHVjXyf8AFr4sa/48uGtt7WGjK37uzjb7/wDtSH+I+3Suf+IPjTXPHGuNqmtXBIGRBbof3cC/3VH9e9YFpbyXV3DaxDMkrhF+pOK/Usj4cpZelVre9U/Ben+Z81jcwlXfLDSP5l+9/wBF8P2VqOHuXa6kHt9xP0DH8ay60PEM8dxq85h/1EWIYf8AcQbV/PGfxrPr6WGx50tyxY3lzYz+daymNuh7hh6EdxWh5Fjq3zWYSyvj1t2OI5T/ALB/hPsax6Kbj1QJj54pIJmhmjaORThlYYIrR8M/8hKRf71rOP8AyG1LBqUN1CtrrCPMijEdwv8ArYh/7MPY1veC/Cuo3euxTWvl3On7XDXSN8u1lK9OobnpWdSajF82hUY3asZd3ZfatRstPaTyobWxjaeQ9I1K72P1+bH1xWZq96L273xp5VvGojgj/uIOg+vc+5Nb/jtJtKvrnTXiMc11J587dimT5aA9wAMn3+lcpRS95KQT0dgooorUgKKKKANKw1CP7ONP1JGms8/Iy/6yA+qn09R0NQ6np8tkyPvWe2l5hnT7rj+h9RVOr2mag1orwSxi4s5f9bAx4PuD2b3qWmtUO99yjWpF+88K3C9TDext9A6MP/ZKZqOnrHAL6xkNxYscbiPmiP8Adcdj79DT9I/eaVq8Hf7Okw+qSL/RmpSd1dDS1MuiiirJCrunajNZq0W1J7aT/WW8gyjf4H3FUqKGk9wTNaXToLyJrnR2Z9ozJauf3sf0/vD9ayafFJJFKssTtHIpyrKcEGtX7TZ6t8uoFbS97XSr8kh/6aAdP94VGsfQejMelUsrBlYqwOQQcEH1FT39lc2M3lXMe0kZVgcq49VPcVXq07iPdfg38cZdMeLRvGm68teEgv25kh9A/qvv1FfS0Fyl3aRXcd9AbaVQ8bwMCHU9CDX56GvXPhl8ULz4eXen6ReQm90gwK9zEeXheQ7tyfRSoI+tfFZ9wxCvethFafVdH6dn+Z7GBzJw9yrt3PrGPy85t7ZpD/ffp+tOl3Y/0m6CD+7Hx/8AXqnpOq2WtaTb6rZ6pDNZXCbomgPUenrn2q3Ft/5drUk/35P85r84lGUG4yVmj6BNNXQQ8f8AHra/8Dk4/wDr0S4zi5uiT/zzj4/+vRLx/wAfV1/wCPj/AOvWXZ3Emu3rWOhqYbKNtt3fAd+6RnufU9q2w2FniJcsfm+wpTUVqSXupXlupGiaDJqMittkAkCBfqT39qjTxL40UBV8C4H/AF+L/hW5rupaf4O8N+eLd2jQiOGGP78sjfdX6k96yNI+ImlyXU9j4gj/AOEfvolWTybuUfOjdGU9+hr6vB4ONGneFPm89b/mcc53erscJpHi7xFPqFnfT61MurzagsE+gbPlijLAE/gvzZrvfi9/yK9rnj/iaWf/AKOStfRr/wALatqMlzpU+m3d4igvJDtZwPc9a5X4x6pNKlp4d0vTp9R1Hzob944iBsijkDEnPrtIHvXcpe0rxtG1jNq0Hrc9Ci/494/9wfyrjPgt/wAijN/2Ebv/ANHvXQ+FdYttd0G31G1DLG6lSrdUZeCp+hBrnvgt/wAijN/2Ebv/ANHvWFnGlNPuv1LveS/rsJd/8lqsv+wO/wD6MFWfjD/yId3/ANdYf/Ri1Wu/+S02X/YHf/0YKs/GH/kQ7v8A66w/+jFrSP8AFpfL8yX8MjqbL/jxg/65r/KuFt/HHiDULm+Gj+EnvLa1uZLbzTchNzIxB4P0rubP/jxg/wCuS/yrjvhB/wAg/Wv+wzd/+jWrKmoqMpNXsVK90rif8JP41/6EY/8AgYtc74s8WeKnv9PsdUt5PCWnzsTLfpIJDuGMJnHy5yT+Felaxrmj6OYxqmpW1mZc7POfbux1xWVdeLPBF9H9nuta0i4RiPkkkVgT9DWtKavzey0+f/BQpLpzFX4UarqOreHJpNQuGuxDdyQ290y7TcRLja+PfJqv8Lf+Ql4r/wCwxJ/IV2ltHBFbolskaRADYqABQPbFcX8Lv+Ql4r/7DEn8hUcylGpJK235haziHjD/AJKd4P8A9y7/APQUrW+Jf/JP9f8A+wdP/wCi2rifG/iQr8QLHUrXS7m60/w6ZY9SuUIxGZFXt32gZP1rofilrUf/AAiD6bZW8l7e65bvb2UMfViyY3E9gNwzWvspXpaf1e/5C5laR0fhL/kWNN/69o//AEEVzN3411uXxBqel6L4XfUE06RYpJTcBMsVDcA+xrS+Gmspqnh5LZreW1u9P22t1BJ96N1Uf0IrP+Hv/I5+M/8Ar/i/9EpWagoyqOavb/Md7pWYn/CT+Nf+hGP/AIGLVPW9b8baho95Yr4J2NcQPEGN4vBZSM/rXcavq+maRCs2p38FnG52q0r7QT6Vl/8ACceEf+hj03/v8KITv70af5/5g10cvyF8O299o/gOzt5IQb2109QYwc/vFjHH5ivL/AmrXq+MdP1CHWZdQ1HWpiur2LJgWwRWCn2xgL716bL478HxxNI3iLTsKpY4mB4FYHhrxnpd1r1s3/CMvp0OqOy2eoFFAuCAT2GRkAnmtKXOozbhv/XX79OxMrXWp3880VvA800ixxoCzMxwABXnc0l78RtSa3tXktvCtu+JZRwb5gfuj/Y9+/FXfi5vuItB0ppZEtb/AFNIblUOC6bGO36ZAra8R6vp/g7QIPJsmcF1trS0gGDI+DtUfgp/KsqUXCKlFXk9vL/glyd3Z7G1ZWtvY2sVraQpDBEoVEQYCgVneLtc03QdIku9Tkwn3UjXl5G7Ko7mubh+JmlQ215HrVvJpWqWuM6fIwaWTP3SmOucUeFtB1DXNTTxV4ti2zrzYWB5W1U9yOhY4HPtU/V7Xdbb8/67hz30iWfD89/eWAuLjQJdPmJztmkD/L2Of6Vcl/6ebrH+xHx/9eq/ivxm2k6sdJsNFutXuo4fPuEhYDyo+xOepODx7VT07xX4V1KC2m0rVNPWe5xiCWUB1Y9seue1eFjsqnFe2pR93tvY6KdZfC3qasWQP9FtQo/vvx/9emy7M4uLlnP9yPj+VLLtBxc3RY/8804/+vSxbwMW9ssS/wB5+v5V4ZuLH5uMW9usK/3n6/lUb+TuxNO87f3F6fkKV/LztnuHmb+4nT9KennbcQwpAnq3X8qABfO24ihjt09W6/lUbeQWw8kl0/oOn+FDeRuxJLJcv/dXp+lSD7Rt+VY7ZPfk0AKPtBXgR20fvyf8KiH2ctwJLp/U8j/Cj/Ry/wDy0upB+X+FSn7Rt+Zo7aP25P8AhQBHJ5WcXFw8zf3E6fkKennbcQwpbp6t1/KiMS7cQQJAvq3X8qjfyd2JZXuH/ur0/IUAD+QW/eSSXL/3V6fpUg+0bflWO2j9+TQPP2/u447eP1brUf8Ao5bDNJdv6DkD+lAB/o5f/lpdSfmP8KlP2jblmjtk/M0f6Rt/5Z2ye3J/wqIfZy2UWS6f1PT/AAoAEEDN+7jkun/vN0H4muKvPH01z4+sPCdj4flvbe5ZA18s+yNCQ24EDkgDPTqa6PVdSmh8T6Xotzp9xJa3e15ZLcnbDljs3kfwkrgj3rYttNtl1SEQ2Fq4iVo/OijCNbkZxg9ejYr6XLMFGgva1o3bWnl5+px1qjm+WLsVND0tbW4+2X8smqahcYkJlQIqjb0VT3BDY74PtWorWccaSSX6W9y0a27FMAIQS23HRTwwrUht4VIkCh3wP3h5JwMZz9KiitoWuJ38jaCQrKVG1yPm3e5yevtXe53epKjYjs2t5LFI5bqO5jYqELnkjgqDn+Loao62p/sieySLyZQTJbsz5BYOCpz6knpWrc2NrcZ82FSxBG4DBGRgnPrwOaw/EiO2mRteJGJFmaNSx+UoTnOPXA49DzRDVoJbB4wknuNAXVNFkjkubOVZkIj3kqOHXHX7pPHtWgJo5fL1S0VngaEyOUPL8cKV9eT78Yov7eF7CZtQl+yx7WaTyn2jAYHd9cAZ/Gub8IR3ElpeeG5tQCT2UmTHwzG3kw0bZ787lz3wc1aScPQTdpFbwP430XxDFc3+kpPbSpOy3Ns/KsxUlWz/AA7jt5/A1qalptjrEU1/o2ovouoQyMjzom0CQcfOhwH6/jmrkWixW9u02ix29pMksjHFsF3nefT2LDPfdmp5Zo7hlknMYnRS0STfIjRttJJB64A/MVUpR5rw0JSdrSM+58QXGkAW3ia1xbOu3+0bYEwnccDcOqHqSelPGs2+tWWlvok8c9rJcJvdG3cIylk+oHJ9MU42SXCyWM9u0kZtktbi3YArNGA+w56AHLdOc49K5eHS7jR9TvdT8OO9rp1rBmS3MamJWzlyo65woBPUjNOMYP1/ATcl6Hd2DQ2cUEUFvdeTMfk3LkR9Bg+g4zVDXreWPSWuYoRDKuZmiX5trgAZGOwUEHHrnrWB4e+JVjrdrHDEI7bVVZPMt5D8j5baQj9M5rqXljWB1khuzPBCQsmcuVbG4q3Q8/yqJQnTl7yKUoyWjMG702y1ST7OkscOoW8yXdpOHyp2fdU8+gIPfjPaptcTRtT0yzu7zTrcjzYi0gVXEbKwBUEdeCcY6rXB+IviXounrd393Ym3gRol8mdQplRgDvUjBxtL5/8Ar1fsPHnhpHN1ba9YiGYSyWRDABcgbQVxgE4AHoAfWun2FWylZmXtYaq53kkZtTOxig+zxjdeyBwRIoUkr5f8OSxP4e9eM+KpviFY/EuTVbK3uZ9MWdGtokO1URRsKsM4yDyfVee9ev6CINUht9SsHUwXMZk+U74jlxvVvXIxtz0wavf2Ysd3CIZo1ZYSkgIH7wE8ZX39fas6VZUZO6v01KnT50rMzriYSMkd0I7K84ltJghVNjcGMsO4zg/gfWriKPtHky3E8aXZZGCj5d4Rt2CezZLA/wCxTrK4kiJhdYri1lzIZDhF+ZiXOD1Az/nNSanawSx380Nw6ubcxyoG+Xbt9PXBOD71i30NLBdWVvNeQXD2+145tqF4g2TjG7PbKjFVTpKRy7rW8ezuIpNoYj5Hz82AD1z8ufXbUtlPcui211Gs88ckZkjAwFTkK6+oyuefetBbyCZvKaIrcKvmLFIuDnA6H1+YD8aV5IdkzNikVJRfy2JVZHV2uLds7zjbyp5A55+lOtja6v8Aav8ASY7iBGDKYyC/IDq2R7NgD2qaaNpLVJHldTCyiKWNvMcO3ysG7HBP6VXv9Otb28EUNwVubeXOIj5WyMoAVOPvDnd9TT0EZWtrt06/t5pGVruyuAFWLY8n7sMMdgfvjnGenaugswbXSLR7qSRfLIYlG4wc43ewB59MVwXxO1RdN0TydYYKZLORYZd21yc7MSA9R8wbP+ya6/R9QguJooHvIgqxCI27YO8FeD+at+FaTg+RSJjJczRJczbd19ex3EAijadkHzBSuz7rjsRkY75NY+uSaV420zU9F0q7S8LEQ3TK4KwKTtbHYkru6eoPWugnkMKDT7Vo9ieXEu45bOCSGB7FQB+J9KytA8P2unQSzabaLZQzzGWWJBtHZtygc8MDx3BqYNLXr0HJN6dBfCuhR+H7GLRIrmY5Qzfu+FZwEDgHt8wJ+jYrmL7Woda8TNbaTaNp+r2DnyrnIKSlyAQeh2k7Qf8AfHrXZwvbpCj7b4skgn44LMeOV7BsFsH1qa7tLO4s5obO3hWcRBo5CuMZOQQ3sQD+ApxqWk3LVicdLI5LUPEWuz3NpaaRplr9reZxfWUswGVwG8xT2J5GDXS3UUyp5sjtbQ5I24G4YOOvv1H1rL1nS7a80+6v7i8S1v7eNriQ7QNhRThiRyVGSc98iuXufi14c0jwdfX+paqt7eae6wSxbMfbJACB5QPTdjcfTmsMVgPrsEqcfeX6/oOFb2T956Fr4keOtD8B6A2qXURnuZMrawk/NM/49h3NfGvjPxNq/i3X59a1q5M1xKflX+GJeyKOwFWPiB4w1fxv4il1rV3AZvlhgQkxwJ2Vf8e9c9X1mQ5HDLaXNLWo9328l/Wp4mOxrxErL4UFavh79w93qR/5dIGZP+ujfIn6kn8Kyq1bn/RfDltB0e8la4f/AHFyifrvr3p7W7nFHuZVFFFUIKKVVZmCqpZicAAZJNaq6bb2KiXWZGRiMraRH963+8f4R+tJySBK5SsLK6vpTHaxF8csx4VB6k9BXp3wt8QaLo0D6BNeeZM8jSiZEPllscqD3wB1rze/1Oa5iFtGiWtoPuwRcL9SerH61L4V/wCQ7Af7qSn8o2rCtT9pBqRpTlyyVjsfGvinw5r+qKogVlhTZHczREq3OTwOQK528t7eKLzzoMNxb/8APa0uWK/pyPxrnF+6KmtLq5s5fMtZ5IX9UOM/X1qo0VBJRYnU5ndl7ztAfrYXsf8AuXAb+dGzw+/SfUoj/tIjfypf7Rs7zjVLFd//AD8W2Ef6kdDQdH+0KX0q6ivVHJj+5KP+Anr+FPbe6D0E+yaM/wBzWXT2ktWH8qP7Ms2P7rXLI/74ZazZY5IpDHKjRuOqsMEfhTavlfcm67Gp/YszH91fadJ9LgD+dB0DVP4IYpP9yZT/AFrLwPQUYotLuF12Nmxs9e02cyRafMQw2yIVDpIvoQOorrfB/gxtX+031u0mn2s0ElvJBOh3I7D+H1UHBz+FeepPPH/q55k/3XIruPAXxAbQbOWx1KGe8hLl43D5dSeo56jisMRGrytw3NKbhf3tjm/Fvh688N6qbG6ZZAVDxyoDh19ax8iu08f+KtTvNeE1tL5FoYUa3UAEMhGdxyOucg/Suf8A7e1L+KSB/wDegU/0rSlKo4JyWpM1FSdjL3D1FFav9uXDf6yz09/rbik/tWFj+80bTX+kZH9au8uxNl3MuitT+0NNb72hQf8AAZnWj7Tobfe0m4Q/7F0T/OjmfYLLuR2GpvBD9kuohd2RPMLn7vuh/hNPutMV4GvNLla6tl5dSP3sP+8O49xxS7/D7dYNTj+kiH+dT2J0qO7R7C81WO4z8m2EMx9sDrUt21SKXYz9HthfarbWpI2ySAOfRepP5ZpNVuvtupXN32lkLKPRc8D8sV774V0XSU0SGRLC2aSePM7+UAWYjDAj+HvxXj3imHw/pPiK/s4NPubgRTEKJJtqD2GOSK56WJVWbSWxpOk4RWpufBf4m33gDWBHMDdaNcN/pNueSh/56J6EenevsLTNSstW0u31O31JJ7O5QSQtD0ZT+tfB/wDbLRf8een2Nt6ERbm/M16P8Dfi9eeENeS119zeaHcuBLkfNan++gHb1FfO8Q8PfXl7eirT6+a/z/M78Bj/AGP7ub0/I+wrDT4pIVk8sxq3Yj5iPetO1ggtYRDbwpFGvRUUAfpXnM9xrnibx7f2Wj+KZbHTYLK2ngNuiuJfMDHdk9vlH51pf8In4s/6H7Uf+/CV4VHBQw8FDmS69f8AI9Z1HJ3sdH4q0Oz8RaO+m3jSIpYOkkZw0bj7rD3BrF0LwDpdncz32qSNrV9MqoZ7xQxVF6KB26mqknhTxYsbN/wn2ocAn/UpWh8KNS1DVvA1leancG5ujvV5SMbsMRn9K6XzQpvkndf1/kRo5aoyNGsLLT/jLfRWNrFbIdJiJWNQoJ3P2FXvH+g6TdX1vq1xr0mh3gj+zidJAu9Dn5efqaitv+S1Xn/YJh/9CesP4w2k1nr9pr91pC61ppgFkLZnx5czsQrY9ywFaxvKrHWzsv61JdlF6dTvfDem6boPh2G0spgbSNS/ms2d2eSxPuSTXM/A66trjwlcCC4jlK6jd52NnGZ3IqqnhbXG+EH9heZm+J8wRbzjZv3eVn02/LSfDXQtStvE9xqz6GugWX2NLc2qvu82RcZfA+mKlxj7OpeV3f8AL/O47vmWhYvb6zX44WcLXUIl/sll2bxnO8HH1xzVv403Nvb+A7n7RNHFumhC72xk+Yprirrwd4gOpz2P9hpLdS6it0mt+b8yR792PX7vyYrp/idoWpXeu6ZqsWjrrtnbwvFJZM+35yTiTng8cfjWnLTVSn723p0/z8ybvllod1pssc2mW8kMiyI0SlWU5BG2uQ+EH/IP1v8A7DN3/wCjWq98MNI1DRfCi2uoqIpHnkmSANuECM2VjB/2Rx+FUfhB/wAg/Wv+wzd/+jWrncVGFRJ31Rpe7RX8W2VpffFrw5DeW8dxH/Z90dkihhndFzg034s6N4c0/wCH2rXH9n6fbSCA+W/lqp3dsHHWrWv/APJYfDn/AGDrr/0KKovilouo3+oaRqVvpa6zaWbN59gz7Q5OMP6EjBH41tTlaVK7srfqyGtJHXeHpoZ9DspYZUlRoVwynIPHrXK/C7/kI+K/+wxJ/IVa+FWj6ho/h6eLUIBaGe7knitQ24W8bYwgPtiqb+BdVt9V1G80jxZfafHfXBuJIUjUgMfTNZLkTnDm36/PyK1dnYl1z4eWOpapd3Sane2ttfsGvrWJvknI9fTI4NXPG3h/SLzS7OS51FtJbTiGtrtXCmI4Hr9BVH/hEvFn/Q/aj/34SsDxb4O8UrNp99canceKbW0m3zadMFjDjjkY6kY6GtIPmlG9Xb+uv6ieifunbeA9F03SNLkfT79tQN3KZprpnDGVyAM5HsBWP8Pf+R08af8AX/F/6JSpfhRo2oaTpt+99aCwS7uzNBZB9wt0KqNufqCfxqL4e/8AI6eM/wDr/i/9EpUy3qa30/VDX2SL4m21vd+KvB9vdQpNE17LuRxkH903aun/AOEX8Pf9Aax/78L/AIVzvxC/5HHwb/1+y/8Aopq6jxLczWfh7Ubq3bbLDaySIfRgpIqJSlyU1F/1djVrsrTeFPDcsTxvo1jtZSpxAvQ/hXLeGPCXh638QQJD4ik1AaY7NaWDTBhbEgg8e2SKqaHoPjDW/CttqB8dX0ct5aiTaIUwpZc4/Wsrwd4T1y313Q45NCXTpNLldrzURLk3gIYdO+SQeelbxi4xknU/r5/doQ3dr3Tq/ij/AMhLwn/2GU/9FvXQeLvD1p4k0tbO6klhaOUTQzRHDxSAEBh+Zrnvil/yEvCf/YZT/wBFvXX6tLJBpd3NEcPHC7KfQgcVztyUabjvr+ZaSu7mB4a8E6ZpNzNf3jtqupTMGe7ukDPx0A9AMmupzXmHg3S/F+v+GbHWJPHF9C91EJDGkKYXIzgVr/8ACJ+K/wDoftR/78JVVad5vnqK/wA/8hRemiLninwXDrWq/wBqW2qXmmXbw+RO9uf9bH6H9fzqxZeDfDml6Qlrb6VbEQRELI0YLkgdc4zmuU8R2vivwzNo943jC7vo59UgtpYZYlAZHPPT6V6Tdc2Up/6Zn+VKpKcYxSndDik29Difh1Je3/gawv22S3DBlkkfqcMQCfWtWXy84uLhpW/uJ/gKpfBf/knlh/wP/wBCNUvDN9qaXtz4d1SGJNTskWRpwPlniYkK49+CCPavDzbL7VKlWktE9V+ptRq+6kzdTzsYggSBf7z9fyqNvJ3fvZpLl/7i9PyFD+TnE0z3D/3F6fkKkXz9v7uKO3T1br+VeAdIq+ftxHHHbR+p61Efs5bDNJdSenUf4UH7OWwzyXT+g5H+FSj7Rs4Edsn5n/CgA/0jZ/yzto/zP+FRD7OWyqSXT+p6f4Uf6OW+VZLp/XqP8Klbz9vzyR2yeg5NAET+SWxNM9w39xOn5CpE8/biOKO3T1bk0J523EMKQJ6t1/Ko28ndiSSS5f8Aur0oAD9nL/M0l0/oOR/hUv7/AGdI7aP8z/hQPtGz5Vjtk9+TUX+jlv8AlpdSfmP8KAAeQW+VZLqT1PT/AAqPUNe0jw+ILjxFqFppsExKwrIfvkYzz7ZFWlEzMiuy20bMF+Vdx5/lWL498L6N4l0aObVIY7lIpUlhRBvCtxyT1IZQAR6GvXynBwq1FOr8KMK9SUY2jubujSR3gLrcLDbzIUWDHzFVyo2t/dxtYY7sTUml6lpceomxF9E83lJ5TO3zyoAec/xYOc+lR2jNYRxWPlRzeUwisy4C7F8oFQe56OM/7J9KrW+jabIJNdnt4I72JpTFKibvJUrtIwOvH86+g01uc+uhsGSK1ljt4roImAyRLHuwgBJGffHX2qQajG15bwrFI0VwhKTAZUMOSjehx6+hqK5WCG5DNqBgBCxrECABjkD9P1NSrbyOstvPFD5LMXBTIyd5IyPXoT75rPQrUhu7gwzztaW800zKUZgCVRlUsvHfOccVyPxelvp9FFhb3TWc7SRyRPGwO5Q8eSy9eCSRj0x3rsp08lVYSGS8ITcFYK0u3rweg5JrF1/S4Wso9S1KGNruKYbcP91XddygmtKUlGaZE03FopeHbDUdNs7j+2Ptdy42yJKzjaNqjcvPQNjnPXJp2sRtY+MNO1u1z9kmc2t1ujAEe3KjB6gZzx04zXSsQb4IrOEnw+WG5JAFIKj+72PvVTxfprano11ar5rGWPaoTHyMMsGHryAKaqXlr1Bx00H6jfppt8HkMIW4ZRhpsMUAwSq9yCyDA67qLlb5NnmNa3UbtwZkCn5uNgx7Hr+Fc9DpOmeK20bXp1lllVQjFGICYVm3cfdJOw/gorqPMuDiNinnoH2xsuFlIAKkE+mRk1Mko279RptlSS5tpNKSO6guBcRQCQxTNiTgEE7hwT8pPHr71T06D7Pa+ReXMqRXNtLJIwXjLnd97vtAI57EVPrUaavcWdptnRo382aMnZmPJXn1GRkY9B61NHdKtri18ryYwsYtW/iHIG09925B6CjoHUx7TwJ4f06ykbTY3JZvNYF1YScng54xg7R6AD0qhf2lzocdxNY3VzfWUK7Cly5OxPLO5Fceu6PHb5Sc8Vr3FzJa/wCl2dmsNtJKI3BQ5kUghSM8DkA+w61yfijQde1TUrW40/VrqxtoYXhvUi4i3O7dByDwyn3G01vTbk/fl95nJJL3UEml+HfFxWO6hSKTywot5BtdVUsytlh02ls9uFFcNrXwas7m4n1r7dLJp5lYRWjoseRjPy4xhSP4eowPSuu0vR7yXX7zS7zVluLphL9iBl48sDkjHK7iScdO9b99Lf6E32WdbrU9JjfbIJTuuBkEKwJ6qORnrwD3rpjXqUnanIxdOM1eSNbwdpOl6B4cGg2Eb/YIx5fmLMWZAwJw7HkEDHPuK2b64hGpQwSQxebuDqznkqASSPp7+tY2hNZ3drPHZzea6TRrNLEgfz497KA4/wC+s+gwa1pJnFxZGWNi2XV5ZFCDAyDn+Yrz53cm3udUdlYl3W91p6SyJbX0qpvRYiMMeD8uf+A/pXG32oa0vjkyf2WE0hRH5rSxknDKoZsjjChiCvqQexrsEsIWglNvEYm81jGrLtC4wuOP4TsB9xUcCPEkrQQm4t5Mx+TgADahGck8g7QPxohJRvoEk3YwfGOuXGl6Sdbs7M/brSNo7iLbkfdJAPqmRkEUeGtZk8TaPBfatay6c/neXCvlkO5KrhkPoGOc+1aOpx2Zju9Pv5jFbTR4HmIc5JyAG6MoLHj/AArI8TasPB9pEzFZtNdc2pVgCsvylYx3IODj1yR6VpFKUVFLUh3Tu3odKXSEteW91JsRn3WxwodidoHI4+YcH3NMtL2Sxkni1C2MMal5PtIPyOcBjjPPVjgf7JqDTNZ03VPs99jCOq+XMpzG5P8ACSO4JHB9RVxTHfSxG8/dMXOy1lUbsgMCfcHqD7Vk1bRo0Tvscb8TLHT9Zt1u72ziuzBNCloDnjdMgJODyCR9MfjW34pt1bw4b3SUga4VF8pA20M2R3HO7sPrWZ47WP8As+5f7PJAtve2a4xs6XCsHVum09/QjmuisIpVkmiaKGY7T5e8bGZcrnIHBGed1bOTUI+X/AM7XkzmvCN94pj8PWtxqsNn/ajmRbmFkZJ2CsSNozgnLEjthh711iX8U9nFDczy2FyxQAS4R2bg8DoQSCPfmku57aSdGvE+yvASyTFgduCdwJ7ZUA89mqqv2W+he3ne31R4ZUMZkXa2Q+evTIxkY9Pes5NSfNaxSVla5d23UUsNxOQ6gNHN5a58wZ+Vz+AJ9s1yvijR7vWILcWOp3he0Zi0KAqkkbAbVboQcMOnHB9K0rbTr23A8i8jd5GZJLSVjsBK7sccg7ducd8nvWjHqVnOpFxBc2NyoDmOQbWbZyAD0b6Z9aItwd4g0pKzKWtvDpVuZtTmRLIRL9oJUGKKMAh1P8Wwj14BxXwt8VvEVn4p8UXUmlWy2ekxzSGyiXIyMgGQ553MFUn6V7L+1n4+kaSPwTpd45kWJTqEqvncpAKxnHc8Mw+lfOLHdEWZQMA59jX1OS4Jwh7ae729DyMdX5pckehHFMQfLk+RhwCeFb/69WAQehzVOJkvIHM0RQ+pH60+1zCTBIenRiMbua9xM4HH7y5BFJPPHBEMySMEUepJwKv+I5Y5NWkihOYbZVt4v91BjP4nJ/Gn+G8Q3U+oN92yhaUZ/vn5UH/fTA/gao2drc3s4htonmkPJx29ye1F/ev2J6EFX7DS5rmE3Mrpa2g+9PLwD7KOrH6VY2abpZ/e+XqV4P4FP7iM+5/jP6VQv726vpvNupS5HCr0VR6AdBRdvYLJbl5tSt7FDFo0TIxGGu5RmVv90fwj9aymZmYszFmJySTkk0lFNRSE3cK1PC//ACFs+kEx/wDIbVl1qeGf+QhKfS0nP/kM0p/Cxx3Rlr0FFA6UVQgpQSGDKSCOhBwRSUUAacWsztGIdQii1CEdBMPnH0ccinfZNLvf+PG8NpKf+WN0eCfZx/Wsqip5F00HzdyzfWF5Yti6t3jB6N1U/Qjiq1XLHU72zXZDMTEesUg3IfwNWfN0e9/10L6bMf44fniJ916j8KLtboLJmVRWjc6PeRxGe38u8t/+etudw/EdRWdTTT2E00av/H94d9Z9Ob8TC5/9lb/0Ksqr2h3UdpqKNPk28gMU49Y2GG/Lr+FQ6jayWN/NaSYLROVyOjDsR7EYP40lo2hvVXK9FFKASQoBJPAA6mqEJSorO4RFLMTgKBkmtOPSPJjE+rXAsoyMrHjdM/0Xt9TSvqy2yGLSLcWikYaZvmmf8e30FTzX+Edu4LpUdqgl1i4+ygjIgT5pm/D+H8aSXVzFG0GlQCxiPBYHMr/Vv6CsxmZmLMxZickk5JpKOW/xBfsb/hPUtRjmuNPhvriOK4tpwEDnG/yywP1yB+dVbe/gvYEs9XLEKMQ3YGZIvZv7y/qKi8OTCDXrGQ/dE6BvoTg/zqndRfZ7maBuPKkZDn2OKnlXMx3diXVbG4084k2sjqWilQ5SQeoNZumMz2MTMSSRkk961bPUjb20lrcxC5sXBLwseQf7yn+FqiTTVi0iG9sJTdWDAAPjDxn+647H36GmpNOzHZcraPbP2QfH0On+O7vwvrVy229gij0+WRuEZd+Ivodxx78V7t8QPEerQeLH0iDW7fQraCy+0rPKuftD8/KM8YGOcc818GWckkOuSzQyNHIgjZHU4KkZIIPrX1x4e8a2HxJ+HegTapDbza3p2s2ltfK6glgScOP9lgOfcGvAzHBJVlXSuno/Lsz1cJiLx9m9z2bwXqt3rXgqz1O+h8q4ntyzrjAz6j61lfBT/knll/vy/wDobV1zIkdiY41CosRAAGABiuR+Cn/JPLL/AH5f/Q2r526dKbStqv1PS+0v67DLb/ktV7/2CYf/AEJ6l+L/APyLFt/2FLP/ANHJUVt/yWq8/wCwRD/6E9P+MkkcXhSCSR1RF1O0ZmY4AHnLya1j/Gp+iJfwS+Z2UHFvH/uj+VcFafES9v8AzpNM8H6peW8czwiZGUBijFTj8Qa6eLxHoAgQf21p/wB0f8vC+n1rn/gjIkvg2SSJ1dG1C7KspyCPPesoQUYSnON9v1Kbu0kw/wCE213/AKEPV/8AvtaP+E213/oQ9X/77Wi6+JWk2+qSQtZXh06KcW8upYHkJJ0wT9ePrXSf8JJoH/Qb0/8A8CF/xq5R5d6X5iTv9o5v/hNde/6EPV/++1qb4R2epWuh38up2EljNdajcXCwyEFlVnJGcexre/4STQP+g3p//gQv+NH/AAkmgf8AQb0//wACF/xqJSbg4xha/qNLW7Zy3jxdXsfHeh67YaJcapBb2lxDKsJAKlmjI6/7pqX/AITXXv8AoQ9X/wC+1rpP+Ek0D/oNad/4EL/jR/wkmgf9BvT/APwIX/GnztxSlC9vULa6M5v/AITXXf8AoQ9X/wC+1o/4TXXf+hD1f/vta6T/AISTQP8AoN6f/wCBC/40f8JJoH/Qb0//AMCF/wAaLr/n3+YW/vHN/wDCa67/ANCHq/8A32tYfinx14he40/T/wCy7jwzDdzbJNRu8MsY44HYE5716B/wkmgf9BvT/wDwIX/Gq+par4T1K1a1v9R0m5hbqkkyMP1NVCcVK7p/mJp2+IyvhZrmoaxp+oR39zHeizuzBFexjC3C7VO79SOPSoPh7/yOnjT/AK/4v/RKVu2Or+FbC2W2stS0q3hX7sccyKB+Ga534Z3NvdeLfGU1rPHPE1/Hh42DA/uU7ijdVJJWVl+aDrFXJfiD/wAjj4N/6/Zf/RTV1Hie3muvDupW0Cb5ZbWREX1YqQBXL/EL/kcfBv8A1+y/+imrf8X+JLTw3YR3FxFLcSzSCKCCIZeVzzgfhmpkpNU+Va/8FjVryucd4W8SeItI8O2GlzeBtVeS1gSFmV1wSqgZH5V0vgzxX/wkF3qFlNpV1pt1YMiyxTkE/Mu4EY9qs+EPE1r4jguPLt57O6tZPLuLacYeI9s1jeEf+SmeMP8Aetf/AEStXO0+fmhZrXr3QldWsxvxS/5CXhP/ALDKf+i5K6vXv+QLff8AXvJ/6Ca5T4pf8hLwn/2GU/8ARcldXrv/ACBb7/r3k/8AQTWcvhp/11Gt5HO/Ch2j+GOjyKu5lslIHqdorivD/jXX59S0m9l1e3uX1G8ME+kKnz2y+vrx3zXcfCL/AJJvon/Xon/oIrL8O6fYR/GPxFNHZwJKLS1YOEAIJEmT+OB+VbpwU6vMr7/n/wAEiztGxZ+Lv/HjoP8A2HbT/wBCNdjc/wDHjL/1yP8AKuO+Lv8Ax46D/wBh20/9CNdjc/8AHjL/ANcj/Kuef8KHzNF8TOS+C3/JO9P/AOB/+hGooUWT4xahG4yraTCCP+BSVL8Fv+Seaf8A8D/9CNU5NQsbH4yXrXt5BbBtKh2mVwufmk6ZraSvVqr1/MhP3YnRXVvNbymKFIoo+znuKqN5G795JJcv/dXp+lVfGXizQ7WytHjvrO8aW9hg8qOcFv3jhcjB7ZzV8C42kJHHbJ3zya+Px+ClhpJ2917HbTqKQD7Rt+VY7aP35NQ/6OW/5aXTj8v8KX/Ry3Jkun/Mf4VKftBTkx2yfma4DQD9o2/M0dsnoOTUSeRu/dxyXL/3m6fmaRfIL5RJLp/U9P8ACpX8/bmWaO3T0Xr+dAEb+RuxLLJct/dXp+lSjz9vyJHbJ6nk0i+ftxHHHbp6nr+VRn7OW+ZpLp/Qcj/CgAPkFuTJdv6dQP6VL/pG3kx20ftyaP8ASNv/ACztk/M/4UWkUE9wI0keWU52yOu5VIGee3atKVN1JqK6ibsrmjp1nalDulM8gZZDl87SOR0ou0ZZZVs5GiKqPMjijG4lvlDZPHA5/CsvVbee40uZLC2eO7ieS2AgfZtRuAxB+8MbT/KsXwHb+M7S0aLxZfNKwlVUuklX5du4HeOhDfL07mvsKNCNOnaL26HDKd5bHUK8E0bXMUwlmRt+ZFCkqC6hc+gO/wDX1rmbrRPEVr4itL+11WWPRWIN5bhgUKjdkhQONy45HOSK2mM32KXzhMgin3HaFJjyGyDu7YIbP+3jtWle2On+StvMkqxmIqGRm+VVU9x04Y1alyMTjzCrHD/Z0bLJbRTMqYkUZU4wBjPJHb8a8/8AFPxYsvDvjq08MyBLyW7wMocbJTxsHsSO/wDez2rr9MuLVLlFkaORyhICQkg8ovyk9cEc8VQv/CXhm81BdcXTLKS6SMeTeTtjGZFIHqMbRtPvirpezjJ+0V0KfO17jNRIrK+s4LuZri6DiO6t5lj2uikgqAR9enpmm+KI57fTlEdxO2Z4xFhPMIYuclvVcEY9MCrC2jS2qXVqXjm8uRXjRyoYkchc/d+YDB7CqPiN7qx0+KOZ3uEeaBQ7MAxbHbHOdyhv+BH0rOOskU9jLsdK1aHxPLqa6vq9xbCKTZbBw0a8sAvOPRT9RXR/aruO6igdpQrEx7mi4yAwDE/7RAP41YGqWqnbIJI8IXf5ciPGchiOh46VHcX2x0a6Qx280Ryh++hzySBzjB69vxolJyeqBJLZnm2sf2haXN/4a0pjptzOYbywxKYnQhFSVEPI+6rcep963/B+r6i1y+gXgubrWNPGZZZjiOVWI3AHuQOlZnjW+1Sx1qxmj0+4kg0uNWFxLHxIPMVXGegyvH/AlrsNWht7XSZr6MebcSuJImDbWYltyoGHbsPrXROS5Emt/wAzKK9567Gfocd7cajNf6fbpFCFFuhkkYiPYFWRNp6/MmA31Pesz4gWfie58HTS6Tp0aarDg2xafDrkkuobscqpQ+u2uqtrW4j0wJHJMskM/mA8IZucnd2w2TzVHxHcXE2pPb2imSSKEbY1HzSM3Ixn5cAhW3dthFZQnaaaWxco+7Y5r4RnxtceGmtfGSebevLujkeVXeJNu0t+ecDr96uou0jihS60uCSCRisceTiOXzGyQwPoR+AOBWb8O4/F8NhcR+JZbUTq2RICpZVzk7gOmfmx6VsStIqM8BLrG3lxW0I+WXBLjaTxkoevqCBVVpXqN6fLYVNWgv13OctPCelrr0muSPP9qOV2uSXj5VQF7fwkfTFdXJHJe304bbJAgaIEqDsJUZI9TnIq09hDJCi7pkVVUKob7pU5B+tUdGa4+zq1xJJPIrj7mFJVwMF17EDk596ylNz1bLUVHQ5CfS9JjmTUdPu5dMv7ZY31CS3PJDBthI+6wyrKP/rVdufEl9p1lNb+JIY7ixmjbyL+1yBIh6Fx/DwRk9utNsvDemR+Jbi6+1y3jXJZXR0bbEwUAH079DxySOTWiYbifQbmOWdpLmKZFmt2CfKAQCg7fMMEep+tbuUXa+pmk+mhsw3kjR3EluyXMe8spSQHamzjH/AgR+dLbW002ni1uvKiljZXDQdMght2O3OeK4TQvBv9hXn+gazI0bNJvgmTERXc20MM4Ch/ut1wcdK37bWI55P7P1y3Gi6xtDxsGPltg7FKt0YAuAR/tVnKmvsO5UZP7SN50j1DNtclywEgby8hOuB1/iAIP1zXMeIBottKum317BZuPmWNoQ/+6yk8g8qTj/nmcdDWVceINW8O6rq+o+JbtEsljd7FY58xyOpwAe4z8oPoQar+G7Oz8aanFc63YtayWt5JPapI5EjqNjBeeqAu/TjB96uNJx95vTyJc09FudBp1qCC0DLZWnKE2bCNRtO5ZCh4AA4NaseoSW9zDDqK2f8AaIjbc/3Q67vlKsenGSRSTQxK4DQMZo90Szw/NjPHzA9cKQSenWsn4jaLdeIPDsMAv7aCYyxSq8TYwoJ3FW6kfMvH+NQrSklIp3itCt8R7qa4htrUeYc6jACqOYziO4jPGRgk70z2IyK7K7nhjnSX96fJby5NnRQwzlvUdPzrx5/ButaV4nso9R8R6lqtpesrwW9yy708ry5SRjksDGoPbBJro/iT4on8JeHFMtzeR3VwsjRsctsdV27QcdCfmGfatZUVLlhB3IVRrmlJWO0a1nke6b7RbFJX8uc4/gGeMdN2DjPoB6VzXxEsdTvPBl1Z6DcrFfvBtjj+0hSrL8vyt6lA4z64Pak8GXV5r2iWtzdT3ESmadN8sWDI/mOArL3Gwge233pde8MTXWswatdXN8yQmWO4jhUBCpjI3qv4n8TURXJU1e36FSfNHRbnN/DS68V+F9F1DWPiFfGSNVMoklkEknkoSN2R3G7n2IHarvij4reEpvBeoa7BdwubGQx20U/G+5KsoDL3X5s//qrqvEllp1zpl3Y6hZx3DPD5DFnxvUxkg4HAJIIx/wDWr4u+N0mk2fir/hHNBjZLLTzi4YOf3twQNxwf7oAT8Gr0cFh4Y2q3JWe+m1jmr1JYeFk9PPc5m+sWvb2e+uPEenyzzSNJIzORuYnJ7epqp/Ze12B1PTGyOW87hv09/wCdUCQq/wB3sR2P1p3B3fKMZ6+lfXKLWzPFv3RpHSHX5lvrFhnaT5+e3WpbPw3JczwW9xeWSRM4DyicNsU98d6w2VWi3JlTg/drVRI9HRbi9jSS8IBihA/1JB4Zx/7LSlzW3HFI9Oi8IeHbjwTPJYzzqVHnTOHy0oj3YBB6Z5/nXm15qsklubWziWys/wDnnGeX93bqTW8niySHTYNJlhgjtbu0T7Y8C7ZCGHBH0Xacd+fWua1OyksLowuyupAaORfuyIejCscPCSvzu/Yqq19kq0UUV1mAUUUUAFanhz/j5u29LGc/+OGsutTQOmot6afN+oAqZ/Cxx3MuiiiqEFFFFABRRRQAUUUUAS2089tKJbeZ4n/vI2K0Dqlvd8atYpM3/PeH93L+PY1lUUnFMabRq/2TFdAtpN7Hdf8ATGT93KPwPB/Ct+Pwhr+v6Ra39vZFJ4Ua3lWZthkCfdYZ68HH/Aa5XTrC5vpSLdQFTl5WO1Ix6k9q9p8LeK9Hs/BsE17eOIrVhamYof3zgZyvcj/CuTE1J00uTVm1KMZX5tDyIaJPblm1aRdOjUkESDMjEdlUcmg6pDZgpo9t5B6G5lw0p+nZfwrQ8Yt/b+r3mvaa3nwSEF4sfvIQBjlfTjqK5mt4e+ry+4zl7r0HSO8kjSSOzu3VmOSabRRWpAUUUUAORzG6yL1Uhh+FS+OMx+IJQhISW5En1DDcP51AelWPElrPcT6ZeSXG5Xs4mIC9WQGM/wDoFRL4kXC3UqS/6tv900vhq9uLC1imt2Aym10YZV19GHcUkv8Aqn/3TUGlf8g6H/dqmrsS+E1RY22o39zdaSpSZY1aayJyy9fmjP8AEvt1FX/A3iVvCvi3StSkaT7Et9D9rjU/eQNnp6jqK5u0kkh1uaWJ2SRVQqynBB5rY1JrXXI4lmaK01PzlxIfliuD6H+63v0NYzj7jjLY1i/fTW5+jkdxDdaWl1bSLLDLCHjdTkMpXIIrlPgp/wAk8sf9+X/0Nq89/ZP8Yz6l4PvfBmrF11LRFPkrJ95rdun12nj6EV6F8E/+SeWP+/L/AOhtXw9eg8Op030a/U+gpVFVUZLsMtv+S13n/YJi/wDQnrr9UsLLU7NrO/to7m3fG6ORcg4rlvEXhPV7rxYfEGi68dPme2W3kQwK4IBJB5+tR/2D48/6HNP/AACSokoz5ZKaVku/+RSurqxp/wDCDeEv+gHZ/wDfutnS9PsdLsks9Pto7a3QkrHGuAMnJrk/7A8ef9Dmn/gElH9g+PP+hzT/AMAkpSi5K0qif3/5DTttEp3fwzjuLma1/ti4GhXFx9pm07aCGfO4/N1wW5xW1deD/BVrH5lzpWnQJnAaTCjP41k6BeeJ9P8AiEmgaxrEepW81g1wpEIQqwcDtVX4saXe3Wt6ZfSaTcazpMUTpLZwtyJTna+O/HH41repKajKelr6f0tSfdtdI6OPwT4QkQPHoti6EZDKoIIp3/CDeEv+gHaf9+65HwV4a8d2+hKqeIDpcLSu8FnJAsjQRk5RCx54GB+Fbf8AYPjv/oc0/wDAJKmSkpNe1/MFa3wmn/wg3hL/AKAdp/37o/4Qbwl/0A7T/v3WZ/YPjv8A6HNP/AJKP7B8d/8AQ5p/4BJU3l/z9/P/ACHp/L+Rp/8ACDeEv+gHaf8Afuj/AIQbwl/0A7T/AL91mf2D47/6HNP/AACSj+wfHf8A0Oaf+ASUXl/z9/P/ACDT+X8jT/4Qbwl/0A7T/v3R/wAIN4R/6Adn/wB+6zP7B8d/9Dmn/gElH9g+O/8Aoc0/8AkovL/n7+f+Qafy/kaf/CDeEf8AoB2f/futTRdH0vRoni0uxhtEkbc4jXG4+prmP7B8d/8AQ5p/4BJR/YPjv/oc0/8AAJKUk5Kzqfn/AJDTt9n8hnxC/wCRy8G/9fsv/opqvfE/R11Pw495HcPa3mmB7y1mXna6qeo7gjI/Gs+Dwd4gufEOl6nrfiY3senSNJHEtsqbiyleSPrXY6xZjUNKu7EuUFxC8W4DpuBGf1pyqKDhyu9v8xJN3ujlvhNpbW/h9dburp7vUdXSO5upWGMkqMADsADimeEf+SmeMP8Aetf/AEStVtL8J+M9N06CwtfGQWC3QRxg2aEhQMD9K1vBXhm+0XUtU1PVNWOo3eoNGXbyggUIu0AAewq6ko+/LmTv/mvIUU9FYofFL/kJeE/+wyv/AKLeur13/kC33/XvJ/6Ca5T4pf8AIS8J/wDYZT/0W9dXrv8AyBL7/r3k/wDQTWUvhp/11KW8jA+EP/JONE/69E/9BFVdB/5K54k/687P+UlWvhF/yTfRP+vRP/QRVXQf+SueJP8Arzs/5SVpL+JV+f5olbR/roJ8Xv8Ajw0H/sO2n/oRrsbn/jxk/wCuR/lXHfF7/jw0H/sO2n/oRrtHTzLcpnG5MfmKxn/Ch8y18TOP+C3/ACT3T/q//oRrd1jw3oWsXK3GpaZb3MyrtDumTj0rktF8F+LdFsF0/TfF/l2sbMY1a0QkAnOM1d/sDx5/0Oaf+ASVrUUXUc41Er+v+RMb8qTRrQeCvCsM8c0eiWayRuHRvLHDA5B/OrOtWsQcXBjklzhdg6Z+lYH9gePP+hzX/wAAkp0Wh+NllRpvFsc0SsC8ZtEG4dxmuTF4ZYim4yqJvpv/AJFwnyvSJo/v9v8Ayzto/wAz/hUQ+z7vlWS6f1PI/wAKZBLZ3CCWFnvc5ww5Xg4+lWD9o2/O8dsntya+OknFtM7RG8/bmSSO2T0HJ/Oo08ndmKF7h/77dPzNC+RvzHHJcv8A3m6frUknnbczTJbp6L1/OkBG3kFsSSSXT+g6fpxUo+0beBHbJ+Z/wpF8/Z8iR20fqeTUZ+zlufMu3H4j/CgA/wBHL8CS6kH4j/Coden1K30WSTS0gN+rkQIQfkfYSVPqSD+FXYluSQfLCRr8xjjXc7AdhU0k+67WS4t3ltjK6eYCNsWGwAQOp3IDk9N2K9rJ6XvOq1toYV3pylPw3DrSeHY5tTkEuqTALMYem8McEnsMYBHbmthLxry2EsFqJo9zK6PgHIbHHbHBP4Vy9x4gstM8S2Oi/apR9rZnj2yDagjc7t2Ou7JOfw9K6K48q1vJZ42cBDFvjjTAAO4ZJ/iHOce1e7OLvdrc54tWsJf7f7Qe1kB8m6C7hIu6OQkgMvsdqge5ar0MjoywtENpZlQocgKAMZ96w/Ekc+o2djareJF9pjY+amfL8z5Sh+m7pUvhuyg0aytLG7eR7hVkcTStkEjAbn3GDipaXKNPUupBJdWzCa2VZRl4mlYPtLZJHHYdPyqusMVpqIhuLeARTxkFwhIchwEX2IH5/hVq1EMN3Lb2kkQxHtWPJJVl/phl/OuQ8TeJrrULhPDOh6jFa+JowJnTOI2VWCuoJ69SR7gU4Rc3ZCk1FXOmgWFILu0huoYYpYVaGNgVaLcuOSeTzj6Vymo3viS58UNo1xpxbSGdZFnWQF9pZ8DafTYMfia13GrWmnWk2oyBrhYokuWmAeNnGN5GPug7Sc+4rQuLG3huNOSOQbFmVFfzD5gK7iq56FQCwx1wauLUfMlpsgsre7eOGfbdxM86b5FIDsquMh16YPzdOgJNWYPtNhcypM3nAESCYoWZlLEFPrgLV62h3yXEU11NM6yo5yNoXGGAGO3Az681SvrWae2htXh83CyKjyy4kDj7r5Hrj9RWfNcuxleH9Stdc0OSRYH1KwuHOZAd7K4J+VlPQqFTkdSaxPBmpXOoLb6bqReOTTLkbvOPzBFZVjJHbOM+2adfXWl/Cbwnf6s8J/s2OVy8atlhNJKMAKOAG3Z9awvh3448M+MPEFxqdvJ5RvyIJrYjoyFSkmT6kHj0WutUm4SnGPu9/wCvIwc0pRi3qelandQWbTi5ZrmC4IjVTJ8qPk/Kf7ucgVDp0sMMJKtIZCNqRiXiONtp4J7hfmx7GvMdT0PxZb+MLjxZba/ay2hRYlJQtHOyM+9HTtuAHzDpwBxXZWk13daLNF4lS9hByXVMPtU5UgkclcAn1wWFZzoqKVncqNRtvQvWvijw/qN9d2ukatbzXtvblblWI3HaSvOeMhutbUDWLciZYIoHLoiTAB8kMWI7fNkY+teSeBPCHg/TvGd5Po+p3N5d3CtBJBcQhBErsTgN14KnHvivShpWEEiwFo9jIy3IVQyMGO31B3bMnqcZ9aK9OEJWi38wpylJXaNQapbw25855nICncY9pbceAPcZ/SoYpLeJkuoI7iabBimKEFn2ZAL+p6kfWoIdLmjiitllnjSOYtbv9945NrZZj0KnJ4Pc4qxDAxUSWuYLjf5o+0xgZ3KCVwPTP4EVhZdDXUzLpiiXTQzRTps586QElWAYgkdiUZSOvcVHdXkTXDyzv5a6iqrEOP3ciHKFs+pHX0ArRP2q3vIIIbW2Mc6STCOXqkgB+UEcdx+G6sq8sWuNMvUgGHDNPG6RjJkO3azA9ATuyOmM1pGxDuUtC1WbVNau7RoU01I41ijEuSCoG9CAemc5+i1B471yGwudKtNUtY9Xjvrh40i2ASwuuP7v+elUPg54w1Txot1Y6p4TbS7OANibeXBkRwChJ6EHJx/dIrt7qLTbuSF7tIEdb9o0ZYfmZgGAG7qDnv3xjvWtReyq8slt/W5EXzwvFnnXi7wamtafaOsdxq0CtHLFbXTGOU/KW4YcHcARg92JrsPCNzot1HZ2Gn3UkH2VMPZXX+uj27doDe2AOOoNR+J4vENt4m0ZreSIWD3q+fMi7X56AjpjaCv4g9a1Ne8P6NfuyzxiOO6AV3jAUB4/utuB44BXA6jjtSlU5oKMnoOMLSbSNGSGSNopJbyO3EkoaSIt8rnBBAJ9crx7Vy+o6lY6VcW+lXWoQQW0br9mkdQVkVm4Qn04K8dCqk9aq65FrWg+H30m+aLUrOVJYoL4J+/hZlypKdMg5Ax6LXnOgeEf7S8P2Wq+MdcLWVggnCqhwFaaTGAvIRkI9wRz1q6NGLTlKWhNSo07Janp/jK+uG8S+HJIrOWeN2uVC7vK8phF1dvQ9OPr2rU1DT7a+lF/qUAuLbepQud6mJ8/KF7clSfpXAeJtWutT1zw6vhq6hkvblLwyMrKUcIqrGwB4B4x7jI616X5zzaUNUN/LFEbYOYF25UFM4z/AHs8g1nUi4Rj/XUqLUm/66EckUNqJsG6to0uAhC/MvPzKR6Dc39KY2sRQz6bBe3UUpuJFVHB8r5wDnIPXJB49qXwnrmmeJLIXOmX9xKofziGyDt3MgHI6Eo3FSappUGoX1quqWJu47eYSRS8AK+4Op2j0Kjn/GsrWlaZpurxOV+LXiJPDfgjU9SNzDczR2zpDH5m5nY7jGT2PYn2BxXwnPI11I81xIZZZHLM5PLMeSf517x+1xq9va+MtM8M2cieVaqJrpUUoFD5CoQODhD19xXglxpv9mXs+nO5ZoZMEnvjuPbFfW5NQ9lR5ustTxcdPnnbsRN/q5BtJk2Hj1qOyNxcS+WtudxfYoHJY59PwFWra3nvJI4LYNLK5AVEHJNaU08elR+XYSebqI3JcXCn5Y+xVPX/AHvyr12+xxoQiDQ0O4K2qnPysNyW3XPsz/yrCmiupp4wszHzB8248k5GM5qHV7uaOJWiXfn7x7g1c0q68wwyTR7nRwZIgeuG9fwqNNe5dpWTLWrWn2PVbm0WRnMTCPzG4J2/LWjpM8V7aDSL2VV5zaznpE5/hP8Ast+h5rn4NX/tO5uJWh2sZC5y2ep96tJ3BwPaqik4oid1J3JriGW3nkt542jljYq6nqDUdbMf/E7sxEedTt0/dnvcRj+H/fUdPUcVjVcXffchoKKKKYgrU0L/AFGqH0sX/VlFZdaei/8AHlq5/wCnL+cqCpnsOO5mUUUVQgooooAKKKKACiip7G0uL6cQWsRkfqewUepPYUN2AgrVg02K3hW61h3giYZjgX/Wy/h/CPc0/wA6x0ji1Md9fDrORmKI/wCwP4j7msueaW4maaeRpJHOWZjkmou5eg9EXLy/uL/y7O3iWC23ARW0XQk9M/3j7mtfxW6W+iWGlwsDHFLIMjoxQBS34uZKzfD3+jvcaqw4so90ee8rcIPzy3/AaTxFmN7K0J5gs4w3+83zn/0KpaXMkuhV9GULa4mtZ1nt5XilXoynBrT3WGr/AOs8uwvz/GBiGY+4/hPv0rHorRxvqSmTXlrcWdwYLqJopB2PceoPcVDWlZ6ni3FnqERu7MfdBOJIvdG7fTpSXumFLc3ljL9rs+7qMNH7Ovb69KSlbRhbsZ1FFFUIr3Nz5LhfJlk4zlRxVnVL2a48P6bNERB5DTwsJByeVcf+hNTSyg4LKD7mp55bOXwxcJLH5zWt5HJ8oztDow5/75FZ1Ojua07bWKUUhmsllK7S0ecfhTNK/wCQdD/u1MWVrYtHgqUyMemKr6U6DT4cso+X1q+pP2WRySPBqUsnkSOrIoBUemaZczNcmKNbaYYlViWHGK0fMj/vr+dHmR/31/Oiwc3kegfCDx4fCvjHTdQ1EPJBFmB5lPzrC4wyt/eXoeehAr6c+Hnii78P+FbfS7nwprszxs7CSGAMjqzEgg56EEV8UWscl3MtvboZpG6KvJr7i/Z28Uw6p8L9PttR1G1e/wBMzZTt5oP3Pu89ztKg+4NeBndKMYKfLfv+Nj0cuqSbcWzW/wCFhSf9Cf4j/wDAcf40f8LCk/6E/wAR/wDgOP8AGuv/ALR07/n9tP8Av6tYPiXxvouiTRW5Mt9cSKX8mzUSMqDqxx24NfOR5ZO0af4s9Z3X2jO/4WFJ/wBCf4j/APAcf410Pg7xDaeJ9ETVbOKaKNneMpMuHVlYqQR9QataJqllrOlQ6lp8okgmUlWx0I6g+4Nct8Ff+RRm/wCwjd/+j3pTjB05NRs01+oJu61Eu/8AktVn/wBgd/8A0YKb8QvEWrWXiDT9C0u8s9ONzA873l0PlAU42DPGT1+gNOvP+S02X/YHf/0YK6XxBo2i6vaqmtWdvcQxncDKOFP17VblGMoOSurf5iSbTscL4Z+Jd7caaftnhvVb6eGZ4GubKHdDMUON6nPQ4z+Nan/CwpP+hP8AEf8A4Dj/ABrffUvDugaMzJc2VrZWsf3I3GFA4AA/KqXhTxppPiG9ayhhurW5EYlSO5j2NJH/AHl9R0/Oh8kryVPT1BXVk5Gb/wALCk/6E/xH/wCA4/xo/wCFhSf9Cf4j/wDAcf412lxcW1vjz5oos9N7Bc/nUX9o6d/z+2n/AH9Ws+en/J+LHZ9zkP8AhYUn/Qn+I/8AwHH+NH/CwpP+hP8AEf8A4Dj/ABrr/wC0dO/5/bT/AL+rR/aOnf8AP7af9/Vp81P/AJ9/iws+5yH/AAsKT/oT/Ef/AIDj/Gj/AIWFJ/0J/iP/AMBx/jXX/wBo6d/z+2n/AH9WsnxJ4u0XQ7eKSWcXMszhIbe2IeSRvQAU48knZU/xYO6+0Y3/AAsKT/oT/Ef/AIDj/GtjwX4rtfEwvVgs7yzmspRFNFcptZSQCP0Iq14V8Qaf4j09ruw3r5chjlikXa8bjnaw7HkVz3w+/wCR08Z/9f8AF/6JSnKEHGXu2a8/MSbutTX8Z+K7Twytks9neXk15IY4YrZNzMQMn9Kx/wDhYUn/AEJ/iP8A8Bx/jR8Qf+Rx8G/9fsv/AKKau4O0Ak4AHUntU/u4Qi3G7fn5j95t6nB3PxGkhtpZR4O8REohYZtxjgfWsXwr438QXOraHNeXmn3VtrUjp9jgH720wGIz37YOe9ely6lpiRu0l9aBFBLZlXgDrXC+Eta8BzeKgdM0j7Jd3bOLe7aHalwRndsP4Gtabg4S/dku917xe+KX/IS8J/8AYZT/ANFvXW6zG8ukXkcalmeB1UDuSprj/itJHHf+FHkdUUawmSxwB+7eux/tLT/+f61/7+rWM7+zg15/mUt2ea+BvFd5oPhTT9IvPCHiBp7WFY3KQAqSABxzWp4CnvtU8e6/rUuj3+nWs1vbRxfak2lyokzj8x+ddt/aOnf8/wBa/wDf1aP7S0//AJ/rX/v6tXOtfmtCzYlG1tdjk/jBDeNomm3FlYXF81pqtvcSRQLlyikkkCox8QpAAP8AhD/EfT/n3H+Ndh/aWn/8/wBa/wDf1aP7R07/AJ/bT/v6tRGouRRlG9huOt0zkP8AhYUn/Qn+I/8AwGH+NH/CwpP+hP8AEf8A4Dj/ABrr/wC0dO/5/rT/AL+rXL23xG8O3GsJYRmcwyS+THeeX+4eT+6G9ckD61cVGXw0/wAWJ3X2irJ8SreCW3F74b12zinnjgEs0ACKzsFXJz6mu7J3R5HQjP6Vxfxj/wCRXs/+wtZf+j1rsY/+PdP9wfyrOoockZRVr3/QqLd2meefDLzm8GKwmWONL26UsRz/AK98Vvr5BfMccl04/iPT/Csv4QxLN4HmjZQ3+nXRAPr5z4rYf7Rt/eSR2yeg5NfPZ3R5MXKS2bOjDu9NA/nbcyzR26ei9fzpkfk5zBA87f326fmaRPJLZhhe4b++3T8zUknm4zPcJCv91Ov515BsRn7OX+ZpLp/Qcj/Cpf8ASNv/ACztk/M/4UD7Rt4EVtH+ZqIfZy/Akun9eo/woAsaZBM2p21zbTM8C+YtwW5zwNuPxzU1pamS2M/mZSVN/muehXhW28feBJPvUuZWto9PEclu06H97G2CmQclT6jj860beOVUZZ5BLz8p244wOv45/OvqsJD2VCKOSesmYGo6NYXLSS29jI8rKcSKAFwyHO3PqAB7HB7UsF+sd0XMrtHCqrLgHzSwBVVcdMsd2Me1b7RAtEQzoIzkKpwDwRgjuOf0FY+pwRRFVkuMF1YTn7m4E8MSBjK9q61K+jIatsQzG7jnuLqSH5IY8Ep8oUDaVAHOSAzHPrxWR4g8TatF4m07RbDQYtUs7mDMs7S4Ktsc7PTnavPTk+leSfD+2+JFj8VrldTF1LZTP5sssjkK42jam0nqCEI9OnQ17Tpt0i6nbW86u8W47HkcMUlU7cDHT7+MdBmuqrRVGW6loYQqOou2pdvJY3uk8+8S2RpGIAHzsp+RQGHBzgn1HHpU0dnY/wBupMIbSSVo3kDiNd6jcuOep53HP/1qsNLZpZWzNa7bbgjcmBF6ZHbniqjWcT6xE1rNcRDyN0TxgGJQGwy/jkHHsD2rlTN7GnEtxI80d1FCYs/uyOcj3B71ip/oUyrJIywW12VOTvZspkMSBnocYP1q9JJqFjHLJPPHcoiyNGgXEkhwSF9OAMe9ZmrXVvb3sWoS+aJIrvYyKvzbTHwAB97JAIz9KIrUJM2IFa5R54rrY5kOdj71BUFcfyJHqKovfKYzILZZNWWE+THkMXwACeOAMtz7VQn/ALQuLp4VkNlYTsDMkaYliYAOWyOqttZTn3rWsTbWVpHbaXa+c0aIMqNo5UdT24Az+FO1gvcwfFHhiHxhpNxp+q+XJZ3MsZltYsExsBtYlvUHI/4CK8/vPhno+g+G38P6faTyu82+1v4YyjpOoPyNjk5G72r2FLKP+0QbhgXJaWMJld2GB+bHB25AH1PrTW01bhZYnt/s4XCxSCQsSu7d07c/zrWniZ01yp6Gc6MZatanPeDIYofB9p9hJu4/scW5Gx5ZLJ0DH0ySSOxFWbDVlsAYdbgms/KLGGJ4gyucE5RxweA3BxjNZfhJ/sFzf+Fby5lkCT+bEqxqD5DjBOB0UOT06cVnaN4l1TVvEWpW8dol3p8ayqjRZYzOqFQrZ4yMAH0JHrVODk5PpuJSskdnb6Xp811PPY3CJulkDbFAYOVwwz14OCKmg81UuLaUs05Ziq3AJjYKQxYEdjvH0Ix2ryLw9aeLbj4m3guJJhoqxtHExyFcF1wwAOclWwfw9K9U1I6jFNBe2d/9ptvNCNEMY2sTxjvjK4+h9amrS5GlzXHCfMm7Etnd7tVtla1RBJG7bwxOHbB4PQhgCR/umpow11Bavco107qJVeJSiKrAAjnnoScHmqdpqFssbSxxy2qSqJo3dS8a8nOB/CcVpXbW2o2dvJC5mRmV18puSrd/pgmsXozRFa7hNnPHHb3L7MNILZcF9oGCUzyeT09WqtNFezXMUN4g3Bsx7Rktglfmx1Ur1z0LCoNYnt9JtVvtZmjFpIFgXzhhoVJ+Ycf7O/JH91fStC4vBJM1xtcxqDGsY6SoxTMgPoAx/KnZ2TFoZXgu5tY9UurWNpY91tHPsZvl4yj9vvKVwT7itW7mg+2QXUFypVyjZVMx+X82SzDjk9D64rIvZLeNl1COSSOKFS0abifLccFW9FIVvY8mthY7GNXuo5PssO2PgEGKRB8wKr05yRkU573FHaw7UJJxFYPcNbNEzx+aR90v2IJ6DPT3xUd3d2S2BhxDeS+a4WHZt3NkkgD1wT9fxrF1G61K3FtZ3ES/ZI50jU7RiRQVCsV7qQefQj2qLWdf0vw7aHUNXnuHtQ7LDczr5iNIFVkJxypwCPcg04027JA5pGjBBMrRRlo2u5JCkv2l8kKHztUHqdhOD3ArN8W+GrPUPB0ktqskEsdq+JI3HRVcjIHDck/nmtHw9NY3jW2uRN9si1PbJE20EwnDEHPpjitLU4rK1sp7y+nEkcCSYRziNcgnG0cZwcfSnzuE13FyqUT8/rTxVrtlqyaha3zR3EWVRgOF7cDt0/OvrTwN8SNM1zw1YTa9pNzay3EbeaFgbABIUFT3AyOe3FYGq/CvwHeWFz4o1S0axupQZlDylYBkqUJUdCc7cd+a9E8IR6RrGgadeaVZqls8DNErEY84kghlbkOvJ9DzXs5hi6FeEXGD067fI4MLQqU5NOW5JpXjDSWikbS5JplYRypi2CAh94Ve2BlR83q3vVh/ELYubsaXeXcbCKTCrgbkXcVHPDZB4PpWT4k1C+0W806KbQYb+CWU2ny2oUQYUYIx/C5APtjFc/8AG+bR9D+FGq6nas9hftE1uv2V2j3tJlQT74JOfYjNebClGcopL4jrc3FPXY+V/ibcah4y8W654gtY5bu3uLh/JdHy6xL8qDHXG0Cpb7wrr1xYWF19gdbhrdI3ib77FflDfUqBx7VxtrG41CGGz8/z2f5Crn1z19OCa9XtPEuixXT32l6ndXWsiF43tyh8qXAySn4gYPtX2E+akoxgtjxklO7kefXGpR2Vm9pp8TB2yLi66M4z91fRf1NYlzerDIN0bLn9cHv/AJ70tzLqEty822L55N7DHY1la3e3cCxqUVSwK5IznGO/410N8quRGHM7GwWYZZYGIIzzyK0PDLJb6q1wLZsQQSy9uSI22n88Vx2kajc+ctu+6VWwAM4I7f1rpdJW8Ntqkw8lI0RUxJknLODgf98n9annUolOm4vUiFxGDkQ53ccDrjP+FE9xMY/3dq+4dNwxiljDYIaYKc9lBz/np+FAgGfvSlskffrXUy925dgkeNkmjZo3UhlIOCprV1GNNStG1a2RVnTH22FR0J/5aqPQ9/Q/WsaLATaFK7eMGrWnXk1jdpcwY3LkFWGVdT1UjuCKbXVbmafQr0Vo6tZwrHHqFjk2U5wFPJhfvG39D3FZ1NO6E1YK09I40vWW/wCnVB+c0dZlammcaHrB9Y4V/wDIqn+lKe33fmOO5l0UUVQgooooAKKktoJrmdYLeJpZW+6qjJNamyx0g/vfLv78f8swcwwn3P8AEfbpScrDSIbPTM24vdQl+yWZ+6SMvL7Ivf69KS+1MyQGzsYvsll3RTlpPd27/TpVS8uri8uDPdStLIe57D0A7CoaSjfWQX7BRRV3RLVLzUoo5uIFzJOfSNRlv0GPxqm7K4krl6a3YW2l6JHxNdSLPN/vSYCA/Ref+BVS1+4W61u9nT7jTNs/3QcL+gFXtJunvPEsuqyjHlrLc47LtU7R+Hyj8Kw/r1rOC11Kb0CiiitCQqeyu7iynE9rKY36HHRh6EdxUFFDVwNjyrHV+bby7G/PWEnEUp/2T/CfY8Vl3MM1vM0M8bxSKcMrDBFR1qQalHPAtpq0bXEKjEcy/wCti+h/iHsamzjtsPRnNLbxXGpXXmruxtxz04rW0ewH2HWre3kEQltFkIPOSkin/wBBLU240uW1vLm6hkS6snK7LiPp06MP4T7Gm6GjSeJDBKkjpdW8tvHt6AvGw/nis5NODZvG/Na5FBEsUCwjlVULUH9n2f8AzyA/Go7ePUvIj3TRhtozleat2Gn61fTeVatG5HLMVwqj1J6CtG1bVGdnfRkH9n2f/PP9a07Xw1a+Qt5qR+x2p+6TzJL/ALi/1PFS7l0kYt5bfUb4f8tmT9zEf9kfxH3PFZd3Lq91O09zeLLIerMKn4tkVqvtGzbRQ3kg0nR7YWNtJnzX3fOyjktI3oBk4HFesfsyv4c1H4iS+F7yzD6bPZstgrMQRJGdxY47uN5P0AryG4S/0rSBaiaIX16oac7eYoeqp9W6n2wKd4F1bWPD/jLSdatbuGKW1ukfeycAZw2fbBNc1ej7WlKMdNNPXuaU6jhNNs++P+Fb+Df+gSv/AH8b/GsjU/h3b6bqS6p4V1GHRLlojby+avmI6HPYnrzV5bP4jOodNe0kqwyD9mPIrjvG2m+JF1qCbxhFc63pf2dlhj0yMjZNzgso/DBr5Gl7Ryt7T9fwZ7suW3wnp/g/Q4fDvh6HTIZjPtLO8h/jZiWJ/M1g/Bb/AJFGb/sI3f8A6PetH4aW+qWvguzh1fzPtIDYEhyypk7AfcLis74Lf8ijN/2Ebv8A9HvWE78lS7vqv1KW6/rsJd/8lqsv+wO//owVP8Yxu8AXybmAd4lbacEgyKCKgu/+S1WX/YHf/wBGCrPxh/5EO7/66w/+jFqo/wAWl8vzE/hkUbv4X+Er7RDCtj9nkkiUrKsjZRuCD19an8H+Fb2215NZ1fXIdTuLa3Nrb+TGECIcZzjqTtFafjGHU7jwDdw6OzLfNar5RU4PbIB9cZrgfg8qT+KGuNBtL+00qG1MGoLdE/PdAgcA9SMNk1cZVKlGUnLb+vlcGoqS0Nzx1pdlrXxQ8O6fqUbTWpsblzHvIBYNFg8fU1qyfDrwVGu6TS40X1aVgP51X1//AJLB4c/7B11/6FFWb8bFaM6ZfalDd3Hh23ZjfxWxO7d/CxA5KgbvzFEHOXs4Rk1p+rE7ato21+HPgtlDLpSMp6EStj+dNi+HngmQkR6bE5HULMTj9axvBdn4g/4VbqsVn59vPM0zaSk7/vI4iB5YJ7HrWB8JkE3i+3bQrPUbOC1geHWvtROHnx8oGepHzZPuKfLVtN+0fuh7unu7nbt8PfBKOEfTYlY9AZiCf1qlq3wy0tLi11Hw2w0rU7R90UpBkUg9QVPUVx/jvTdUk8Uaz9o07VbrU55FOiXUBPlQDtuI4XDcnPaum1dviTovhi51SbWNKlNnaNM6GDltqkkZ/CqtVXK1U37/ANMXu6+6dP4H8NyeH7a8e6vftt7e3BuLmYLtBbAHA7DAFZHw9/5HTxn/ANf8X/olK6zQrqS+0azvJQBJNCjsB0yQM1yfw9/5HTxp/wBf8X/olK5oylJVHLe36otpJxsHxC/5HHwb/wBfsv8A6Kauk8YMV8K6sysQRZy4I7fIa5v4hf8AI4+Df+v2X/0U1dH4y/5FPV/+vKb/ANANEtqf9dRr7X9dDivB3w98K6n4K02e607fNcWSNJIZGyWZBk9fep/D3gS4tdU02O81+K80/RpGeytkjCupIIG8jrgHFbngpbhvhppq2rbZzpiCI+jeWMfrXlvh3S/EP9s6cmi2eo6fr0Ukh1W9vATBKDn8G5xjFdUZVKjnedrd/n93bQzairaHs/iHQdJ8QWiWur2iXMSOHUN2b1H51if8K28G/wDQJX/v43+NQfYPiR/0HdJ/8BjR9g+JH/Qc0n/wGNc0VOKtGol83/kW7PeJP/wrbwb/ANAlf+/jf40f8K28G/8AQJX/AL+N/jUH2D4kf9BzSf8AwGNH2D4kf9BzSP8AwGNVzVP+fv4sVo/yk/8Awrbwb/0CV/7+N/jR/wAK38G/9Alf+/jf41B9g+JH/Qc0n/wGNH2D4kf9BzSf/AY0c1T/AJ+/iwtH+Un/AOFb+Dv+gSv/AH8b/GsHTvhy9pNa6OuvxtoVpcrcw2WweaGVgwBbrjcM1r/YPiRn/kOaT/4DGvOtG0vXl1uyjnsNU/4SpL9Xu9QJP2d4cjcAemCmRj1ral7Rp/vL/j+ZMuXT3T0T4x/8ivZ/9hay/wDR612Uf/Hun+4P5Vx3xj/5Fez/AOwtZf8Ao9a7GP8A490/3B/KuOX8KPq/0NV8TOM+C3/Inyf9f11/6Oeti/ijivnC27zSE7snoM1j/Bb/AJE9/wDr+uv/AEc9aGragv8Awk0mlNOIcWq3APcjdtI/lXDnVH2nPJdHcvDyskPfztuZp0gX+6vX86ZH5ec29u0p/vv0/WiPys7oIHnf++/T8zTpfMxm4uFiX+6nX86+VOsZ/o5b/lpdv+YH9KmRbhyq5jt1JAAHJpD9o28mO2j/ADP+FMj8rzQ0LPLKDxK4yqe59h1q6UOeaj3Ym7K5s2cUb3UszLiWOQqpyeRtAzg1ZeP53kEzqSm3GflXrzj15rPj05IVhlfUJWwpjLuw+dW4xntzjFOazs1tleWaa5SGLymzIW3gZByB1PXPvX2FkcZalt0nhSGWZ2AUq+1sbwVKnOPrn64pVmtJi8G5HwpDKR2BwaptHaSblt7aQyoSRglD80g3YJ91z+HvU18HXzFeNZ4Z18soWCgZ4Iz3zn9KVgMxYrfYkNyryCEyBljTO1ei8/e6KMHvj2qlAgku4oHtLryGllWNsKcozbXHHK8kNk9ga1ry2uYvKu90Qe1Kr5gjy0keF3ZHY/ewPes64ge+1C1P2qCfzk3LLEnzIFcHI56DHB/vEZrVMhooeJNR1HTNMaOWa3ttVlR1t55596MwGdoQDgMI88+pHWm+C5Vk0hHlv7B711+13MSlkVWypLYz8oBMnHQ5HpXOfFqzu9Q0G40uOM3eowySXX7oscLtbK+oGDnGeMn2rnPBWh6X4HvdP1PxdqUx1DUTFDa2gbfGI5CrqCOpIeNxk8fN711wpRlSvfXt/XQwlNqe2h65mRgiaDGZUlA/02V9yRKBwADyeG4x361Rmt9txZzSeVc3F2weGSOUqxYKXONwwOGceuNvcVLq+o6joOmSTR2ErJAJWjgi2nePmIwfXPauXm8e2tpqtjbXllNb3M0jXNtsiO2WOQyIFYdiSgORxyvrWEKc5fCjWUorc6m2e5mnT7VJMk0mY4pPOVdq84DFepyy49eCKuoXjurlg80jKVWaOFSHDn5+Ceq84+nHauf12717TvEenLpVnbS2t5EgnFwf9U4ZtvToeVAJ9AO1dLd6dE1lt3m7S33GHcxZ9+WypIPIwcY9qiStZ9yk7lfVNSsru4gt5N0aIzSPIZCo252cbeoYM2PpV6Z9QiZGSS2ki80FF3bWdDkYyeM8g++KoPp9xbBW8m2kLyqzpkKZNuRlR2IUK2B3U0WUEwtor21mtHiUJHCZsj90pGOvRuv44qbK2g9Tm/HenR6Vdabf25zci6k3MU+/C5BKM3TjHTv9at6ro8epeGZk8NTR6ZPltrlQoaZo9vr1JIU/44rmPjr401bwxosGk3WnW96NRxGJSdoIGQw/3uFb23VieEfi3pNx4jsLG5srwTXEUMcmLYf8fbYjEirnIXKrye9d0MPWlSVSKvY5pVKam4s9U0fT7rS47aCdrVVFvESXO+RJg3zH1YNu4ParkwvdKZpMLc2nMswSEKdoUAkn+90IHcLikmiaa8YKI3mlt/nHmhWcK42uCOmRnp7VnT332tWjjulLQW+y5KT4CKrKXJB6kDkEdRn1rj1k7nRsg0bU9MgnGnWurLPGkoaMbiyhTncpI9NxwOnArHPg3UYvFkmpzX/+iLGMW1sxVm+UDcq5wAD27ik8N+H9J064m1Dw5eQXTTuptmMmMkYBGejLtYH3470/wVfa1eS3cGv+XElptWFUBkeSJ13Mu7+IYKjPXj1rb4eZwf37me9lJG7relnUrErfQpe28J4R28x1ky4LHHGMMpI7AVasNZsl07bqKy2Yw+4XCgKi4JxuHBG3p7Vi+KU1BLXT18NalC0xcsvmvkOCQuMdGGSMg84z6VQ1LXtFk19PD9xerb6jOPPSFtpQBgQv0BUFahQcl/WhTkos8y8c/Ee1ufEjeDNJdrq0VYYZrm2m3SKTt/1bH+HgA56bs969W8H2d7pmnrokc0cs8bhkmuT83lMhbgHptcrgf0FcX478AWWpXkD+CZorO/WYNdXaKEVoG8xZFZzwTuVR7Y96+d/HOu+Ko/GN1b614ivoZIG2o8UxIBj3CPgH1/nmvXpYWGLioUnay1vvfucM60qEnKauet/H7xLqb+M9Hs9G1a5WEeTOQsuXOXJdSV+6QUA2+2RXrtstrr+mRDVYp7m18qC6TzofnMpzkKRxnDRY/wCBE9a4n4O+EpbzwfpGsa3bedqTTPHLKCpeFWIx9c7jnPTJxXfLoi/Y7lrae6ugY5VihmkwGyBuG0c7iC+D2rkxNSCUaUfs9TalGTbm+vQ27mz0+1CxWM1vZxxlEMaDbtGCBtI6HkfTFcz4n8QaTq0UGkxyxbpttzdhcnBUY5H93ITJPY461yPirWNJ0rxiiQ6he2YtHUXMBUhCrMAw7gFvMOO2T7V1PheDTblhrl0ghk1K4jkjkdQgjyFUKpHQMqcqeC26sPZciU5XNefmfKjoL2S2lnm0270sXsNypt8yYVGQHG3uOrKB35PpXJrZ6h4e1lUi8iCG8k8sB1OFeNyVbn+NlYnI6k130S3FrePJ9lMoyA7xIB5oIyG+oORx/ezWf4gshrekX9o12Hbyy8LEENG6M3IA6EHaPU1jTqW06Gko39Rl7brqlikeoXZWdU82F0HyN947lP07HkbR6181/tdapLpUWk+FbGC98qaVZnglkMpC84wfxPHvX0VpWq3GreHEuPIY7SLa6kY4MbIwIfZ3BViSPwr5w/ag1dLXxhbOdr6slsxWQL8sQdyC4Pc4UY9MmvRyuDeJS7HLi5JU7nhs+qnSo5dOaFTdyjFzIuMovBCKffqT+HY07T7hrWeC6hOySF1dPqOx/l9KpS2qtcm4bnPXcOnf+tTM+5iMgZHU8HuRj8q+vimr3PHk07cpo+I4beHUfOthstrpRNDn0Y5K/UHI/Csq/gjnt285QePkBHINaNtF/a2gtZvE4m05zcRBjyYyQHUfThv++qzpkbMUO5jhgwOeoFKL0aYWs1Yrwafb2bCS2Qh15O7kkd/oa37dt3hOWT5ALq7VePvfIhJH/jwqhIAM9ify61d1SL7Lo+lyKpHnCWeVR6FtikD/AIAabSVkhczlvuZKWwjmeTc2HHQt06CpVlQMY2Yhz0Gev0pwZXXdEpzjIPbnrUEkEcknmKpLNyOeB71W2wr33LMbFmwxG7HKjoKfUEbrGwiYjeSfqf8AIqeqRDRe0m+W1keK4jMtnONs8Y7jsw9GHUGm6rYtY3AUOJYJF3wTDpIh6H69iOxqnWppVxDNbnSr9wkDtuglP/LCQ9/909D+dS9HdAtdDLrU0/8A5F/VT/tQD/x4n+lUby3mtLqS2uEKSxnDD/Par1lx4a1M+s9sv6Sn+lEtvuBbmXRRTo0eSRY40Z3Y4VVGSTVCG1f0/TZLiI3U8i2tmp+aeQcH2UfxH6VZFpZ6UN+pYubvqtmjfKn/AF0Yf+giqGoX1zfyiS4fIUYRFGEQeijtU3cth2tuW7nU44YGs9Jja2gbiSUn97N9T2HsKy6KKaSQm7hRRRTAK1Yf9C8Oyy9JtQfyk9REhBY/i20fgazreGS4uI7eFd0kjhFHqScCr3iGaN9Q+z27Zt7RBbxH1C9W/Ftx/Gplq0hra47TP3Wi6rc92WO2X6u24/8AjqH86y61Ln9z4Ys4+huLmSY+4UBV/Xd+dZdEerB9AoooqhBRRRQAU2KRZM7WBwSD9adTINH1GaY3Om2zyL/y1z8qfXceKUnbUcVfQIbm+0u7a+09slxieFhlJV9CO9dr8PNIs/FOrRX+lSGx+yOstzAw3BeeNh98Hg9K5+CDSIU33eofan7w2nOD6FzwPwq/4c8YP4W1GS70vR4BaSLi4gVjvkx0bce4/rXPW5nFunubQtdKZo+P/CNt4T2ahdXzz2U8myJETDlzk7SegGB1rjLvxHPMHsDAtvax8rDbDKn3Y9WP1rsfin4q/wCEknTTBAsVnbsH2k5Z2ZQQT6cGuKghht1KxqAO/NFBVJRUpvUdRwi2kiv/AGhF/wA8pv8Avg1q6FcWi79TvYZPs1uyqiOuBNMfuJ9O59h71U06RdQ1GKwtfmmlbanHy578+g61Y8XXMLLa2Nm2bO1mVUP/AD0Yn5pD9T09gK1k29EyIpX1Ql1cS3NxJczuXlkYu7HuTWd/aMDA7Y5mHTISrh+7+FVNH/48U+p/nV+SIVrNs+5vhj8VdPvvh5oNxPputTT/AGGNJZI7MsrOg2sQfqpq3qPxE1LVNaXSPDVqtjKlubmWTVYzEGAz8qjv061xX7JPjvRv+EAt/Dl5O6XMN9LDCzJ+7IbDBd3ryePevavE3hfQfEAiOr2STGL7j5KkDuMjtXw+IjSoYiUZQ6v+rH0VJynTTTI/AmuyeIvDFvqk0IilYujqvK7lJUkH0OKxvgt/yKM3/YRu/wD0e9dZYW9jp9jHZ2axQwRLtRFIwBXJfBX/AJFCbof+Jjd/+j3rkbTpzcVZXX6m2vMr/wBbBd/8lpsv+wO//owVZ+MH/Ih3f/XWD/0YtVrv/ktVn/2B3/8ARgqz8YP+RDu/+usH/oxa0j/FpfL8yX8MjqLP/jxg/wCua/yrj/hBn+z9b/7DN3/6Nauws/8Ajwg/65L/ACrj/g//AMg/W/8AsM3f/o1qyj/Cn8in8SE1/wD5LB4c/wCwddf+hRVe+LX/ACTnW/8Ar1aqOv8A/JYPDn/YOuv/AEKKr3xb/wCSc63/ANerVovjpfL82T9mX9dDf0bP9kWn/XFf5V5t4c8SJ4Z13xLb6jpOsOZ9TeaJ4bUurKQOQa9E0+4htfD8FxcSLHDHbqzuxwFAHWsvw1418P8AiK+az0+aQzhd6rLHt8xefmXPUcVFNtKfu3RUumpV0Tx/o+qa5b6OtrqVrdXCu0QubYxhgoycE/UVc+Jf/JPtf/7B0/8A6LasjxeP+LneD+n3Lvt/spWx8S/+Sf6//wBg6f8A9FtVcsVOnKKtf/MV3aVy74S/5FjTP+vaP+Qrmvh7/wAjp4z/AOv+L/0SldL4R/5FjTf+vaP/ANBFcfb3h8H/ABA1M6tHs07XZ0kt7sfdjcIq7G9M4GPrSgrupFb/APBG9OVlj4nTR2fiPwlf3JMdrDfOJZSPlTchUZ9MkgV21zDBfWUsEgEkE8ZRvRlYY/kai1bT7LWNNlsb2FJ7eZCGBGeD3FcLpWoX3gLU4tD1uZ7jQ5222N83WEnpG5/kfpSS9rBKPxR/HqHwvXZjdNu7z4e6jHpGqyPP4cnfbZXZ5NsT0jf0XsD9K9GjdZEWRGDKwyCDwRVbUrGy1bTpLO8iS4tp1wykZBB71wenXt78P9Tj0fVpJLjw9O22yvG5NuT/AMs3Pp2B+lDSrq6+L8/+CHweg/xb4t1+HxJqGm6L/Z0Mel26z3Bu2wZsgHCfh39cU7SPinpt7pVrdyaLrivNErsEs2ZQSM8HuPet/X/C3hnxDdQ3upWkNxKgG1w+Ny+hx1HAq5q+q6N4c0f7TdyRQWkICKqgE9OFUevFXzUnGMVC7/r7xWldu+hz3/CydK/6A+v/APgC1avhPxhpfiO7u7OzivILi0CNLHcwmNgGzg4P+6as+GPEWk+I7aWbTXYmFtsscibXQ+4NYWg/8lc8SdP+POz6fSSpcINSXK00u/oF3dam/wCLPEWn+GdMXUNR84xvKsKLEm5mdugA/Cuf/wCFk6X/ANAfX/8AwBaj4vf8eOg8f8x20/8AQjXUazqen6LpUmo6jKsNvEuWYjrx0HqaUYwUItxu35jbd3qcv/wsnS8/8gbX/wDwBaud0z4ja7dCy1xoLEaNeXq2qWu7/Sk3MFDEfU5I9K73wt4m0bxIkx02R/MgIEkcsex1z0OD2qCPwZ4Xg13+2l06FL3dvDbvlDdMhema0jKjC8Zw1/r0+8VpPVMzfjH/AMivZ/8AYWsv/Ry12Mf/AB7p/uD+VcZ8YpEbwxZgOpP9rWXAP/Tda7SP/j3T/cH8qxl/Cj6v9Br4mcX8Fv8AkT3/AOv66/8ARz1FrGf+FsRARiQnRmwD/wBdRUvwW/5E9/8Ar+uv/Rz0l+u/4wW65IzozjI/36vEQ551Y90xRdox+RqSebtzcXCQr/dTr+dMi2A/6NbNIf778fzoj8sN+4t2lb++/wDiadLuA/0m6EY/upx/9evhD0Bn+jluFkun9TyP8Ku2G43Ua3CokbZVYwM5JB6+2M1XPn7fmeO2T25NWtGe1jeaXzWIVPnkc8Yz611YJXrxJn8LLwe3jWWO4midUlQBSgAjyRsX88YNTRw28dw0kaIspX5scHGSen1J5pZDGJkjMJYyHJYJkAjpk/ypJoFaQTBvLcY3MP4lGflPtzX05ykrMq43MBk4GT1NZniXWNP0SwF9qe1bZXG52IwnoeffA/GrUljZyWSW7xhoEIdOehByCD9a8Y/aY8Ha94u8K6c/h24bUILSR/MgSUAsuxcE/wB/BGT3xW+GpQq1YxnKy7mdacoQcoq7PToPGGjXukDUdNvIrhNw+VfmYruw2AD1wD+VZOp2lxdTQp+8s4Jnd4HSTy5CWCkRgj7o34+p+teKfAzwv4g+H9jq2u+Jnjs7AHy7dARLiVXCM+z+78/J9FNesWfiq88T6ba31nDCyv5jpA7bGO0Ald3ZgRkeoBrrrYZUZtU3ePcwp1nUiudWfY6bUrb+z4ZbXTxcRrlZo2jcfI+Txz1B6Yz0rzGDXPEHjx9V07VvC+n2s+mtI1pcXEBYrIhyqnPAVkLYPt613t1eSW2hGa4tJrlLeJhIqybl3eWHBK9cZcjPbArJ8MeMrDWbW4njtri3nkZbWZpkbapICsVI5YZCDPYms6V4xcuW/n2KnZtK9joNHgvDaRW+qNLLeIqBlhk3IGQ+p65VgefSk1Dw7pTeJrO7mt/tVxEPLRgfmiVlcc9ggC4AA65pJdW0hg0lhdXFpcOwJZoH2M4yRuHXGFPHowpbzWrabVrRpiYzbs7SKhBDbcgEevB/DcPWsffvdGnu2J2gg+x/aV8tUiLR3MEoL+WpBU8g5A3fMT6ZrM8JeJ/D3jVpbjR2tXktCPNMqshyWB3AZ6E7uvOcVt6pdafNBPcJNbT201oVkUKWWQM2Axx1UfNnHIGa5210fw5oFzc2fh2xsbWK5CLPG2Qr4KlSp7jB9f5U48ri73v0/W4O6atsdNceWzTtN+9jjmk8/Yx4JUKqgH/YcE47j3qpDHcXCPNp32e5CSAL9pjKlgEGcnvkhTkCsOz1nRZ/Fk+h3AuZdQIja7SZT5WMquVYcEhhGc+ldVBHYtdtayRy73aR1OwquAwyMg4z0+tTKLhuNNSMfWtKfULOWaa1sLrLs8KtFyrhvmX5uu7aORz1xxivOviJog09JrnTdPtLWcWgvob5H+csqhXRCRjaNqHB+tejajBMIftMd0TGkIkRWkMi5VvlcN2baVI9cnNY3iu3uLzRhdPcME0ubzns5IgWkRQDJHn+JShII7it6FRxktdDOpFNM5v4S6x4ouSY9WitDpJWZIwyYYlVGEQ9Qp68cYA9a9HubSOaSOaa3heCOFo5ligO3+JGxnnAHbuB71FfWFtNHYzae/2cuN1qyxrhAoBVc/3TjH40zSNS1ObzporOOS9iOy9hMhQsyHazovcNtO0+2DUVZ+0fNFWHCPKuVu5j+I9HgsfCF/pmnImn2scQa2lgj8tRIiM64OSAu4Y9QTXAfCy78cXcxuP7Tk/swxySf6S4yxyQVDf3gSw+n0FWdJ8Z+Kbj4pyeH9R0dG0s3Do6tEUCrjIU9c4POR1+avSp7Wy0W2XTFthLFFua38zEQHyjcFI+8SefrkV0ycqMeSSTcte/9MySVR80dLEtwlnDZy3MFir3NsqCKS5bCyOCCTkfxL5fPTOPesvU7Oym162vNW09Zr5YnVJVgAcAnCsT/BgH8wfaszxVea9b6Bdahpdvbyag6pOkG/iXjBGD0bGev3sAetXNLa9vLSxm1jTFs70IVKW91uLsQCS567WAP0zWCg4rmv8AiaOSbsWtI0+41eBJHghWx2lgIGPIkJJAz6ZDg/7ZHarH/CPaHeSW2o3Gl2lwBGUgMNupMZXDbSDyWHl4ye5Iq/c3Udvcx7IJxEhBtyzbEbeVbIP93nBGOMe9Y/jCO91PTDb6DqAsJ4bhrqKXbt3OByATgYzIBz1waiLk5b2KaSW1yb7Olrq9zKIZJImj/wBIhjk2hEDEblA4LphPfacdq2bqG0v9NivtOhEkkpVRIGKsv3lycc8Fjnv19Ky9ChvVtFt7/UbSW9NshWRipXzSsZPA5ZSQTk+tch8WfFmo+A5ftmkWInaR1Z4BEzpAMS+ZKAvZjtyD0wfWqhTlVmoR3E5KEeZ7Gh4z0TTdans9PjnSeTeLu7wcqsSMof5vvcjtzk1ys/hnxhYePkjstRlt/DUIjjt7Z5RJEqCOPJxjLYY5z2yTXW/Di71TXIW8TNZQ297eKN9sTmNI2TjZ32nCE++RXS37XUscPmxOtoN8f7uNWMeXMZUnthWHT0rVVZ0Xyb9COSM1zFbT9ciume8sbq3muSds0cbZCbGPyrnsyox9RgmrZka5l3XGpJYTBtyLHGNgYnI5/iJUAnP96uT8LaHonhDxJcSaZMlzLqMo/dyXAwsqh1JAHCZ3557Fh1xW7PcTzWwt7W1R7EWx8sPESyFcDJOM8AA++cVjOEVL3djSMnb3jG1mSfRvEX2i5haFtVkEZjRjgSKoG5COPnEhU543KvrXyV8edZj1j4n6u1pvZIFigj3jH3VAzj0zzj617prd74o1z4k3mhwzXcGlafsYLMTHJGdg3LyPnBITBHTKmvmb4pyS2fjPXgI4o5Yr10YKcgMOOo6+tfQZVSUKnNJ68p5uKlzqyXU5mwbUG1BzchlXGdueM1rCIDDLhuO/eqemXLXUCsVKnlc5yBzxVnL4ztIPUEnHHpXvQWhwVL37FrTb5bK+imDZK9UDcsvRh+RIpdYs4rXXJooWE0KKrRPnkq3Kn6425/Gsia1XzTeYYSJyAp6/54rTtjJeeHZ75cmazcOyFcHyW4zn/ZbH4NScrO7Go3WhWubgx3CfJlWHXPvz+lbXiL/j4tLRgQILOFce5Xef1Y1gQ28eomJWaWNmZQB65OP8/WtPxckzazdwx3JLRzGMNjnC/L/Si/vCsrWM52Ns4aNf3T8Oufue4FTxKuAN27PII4zTFUgENlmbrnp64pnzwkZ+ZG+7zjb2qydyR4VmljkOMxNuUnrzVioGbB3Z6/dwe2KnpohhRRVnT7G+1GYQ6fZ3F3Ieiwxlz+lDaSuxJNuyNC1I1mzSxkI/tCBcWrn/AJbIP+WR9x/D+VRQAr4Xvsggm9gUgjphJq7TQPg142vFS7v4rfQbYEN519MEK++K5W+sbS78Ha34jvvF1vb6va6ksKaJsw04HG/64LHPsfWvPWPw8pONOfNttrb7jpeHqxSc429TN07Tp73dIpSK3j/1k8hwifj3PsKtSahb2MbW+jhgxG2S8cYkf2Ufwj9a9HHw+0rxNplpPpXxC0SMGFGFhJ+7WBioJX3IPGaoXnwN8bopewbS9TTsbe6HP0BrNZtg27VJ8vk7r80jT6jiLXjG/pr+R5l3J6k9TSV1Oq/DvxxpYJvPC+pIo/iWPeD+Vc7dWd5atturO5gb0kiZf5ivQp4ilVV6ck/RpnLOlOHxRaIKKQMp6EGlrYgKKKKQGroX+iw3erNwbdPLg95nyAfwG5vwFZVautf6JZWeljhkX7Rcf9dHGQPwXaPqTVGxtzdX0FqvWaVY/wAzioi95DfYu+If3b2Nn/z72cYI9Gcbz/6EKy6va/cLda3ezr9xpm2eyg4H6AVRpwXuoJbhRV2y0u+vF8yGArEOssh2IPxNWPI0ez/4+bqS/lH/ACztvlT8XP8AShzQWZmRo8jiONGdz0VRkmtJdGlhUSalcQ2CHnbId0h+ijmkk1q5VDFYxxWER7QL8x+rHk1mszMxZmLMepJyTR7z8g0RpTX2lWETPY2DXkqjPm3XT8EH9apz6vdapErTXLPH2jHyqvttHFQVRnhktZTc24yp/wBZH6+4o5UncpO+gXEL28hubZcg/fjHQ+4q1bzR3EQdDkH9KLeZJ4hJGcg1XltZY5jNaMqlvvo3Q+9PbYN9Hua3iuxtp9TiuWUhprO3c4OMnylB/UGsn+zbX0f/AL7Namvf2g1rpEwEHzWIVuvVZHH8sUzQ7W6lkkvL1YTY2oDygEgyH+GMe7H9Mms4tKOxb5r7kltZSaLo6IZF+03a/Jx80UH+L/8AoP1rK1T/AFcP/XZagmu7u+1P7XO0pvJJMzcYQL6D2A4FT6p/q4f+uy0QXuscr8yLZ+7+FVNI/wCPBPqf51bP3fwqppH/AB4J9T/OtOpkvhZ7r+yJY32sXep+FftMUemW13b6pJ8mZGYZ2qD2GUGa+lvjIhk8HR2/mSIk1/axOUYqSjSqCMj2NfO37EUu34keIIe76dE35O3/AMVX0Z8X/wDkWLb/ALCln/6OSvkMxdseo9ND3sLrh7kEXwv8KGJGMN5yo/5e5PT6103hnRNM8P6THpmkw+TaxszBd27kkknP1JrK+Iv9q/8ACC3X9j+aLnYmfK+/5eRv2++3OK8/8FHxJ/bU/wDwhIuP7L+zJ541hXUefxnZ3+vbrXAo1K9NuU9u50XjGWiOwu/+S02f/YHf/wBGCrPxh/5EO7/66wf+jFqr4f0LxTL44XxF4hk05ViszbRx227nLA5Oas/GH/kQ7v8A66w/+jFpK3tqaTva35g/gkdTZ/8AHhB/1yX+Vcf8H/8AkH63/wBhm7/9GtXYWf8Ax4Qf9cl/lXH/AAf/AOQfrf8A2Gbv/wBGtWUf4U/kU/iQmv8A/JYPDn/YOuv/AEKKr3xb/wCSc63/ANerVR1//ksHhz/sHXX/AKFFV74t/wDJOdb/AOvVq0Xx0vl+ZP2Zf10L13pcet+CW0maRo47uzETMvUZHWuH+GumarqXid73WLq2b/hHHl0+3WCPZ5mQNzN+Q4+tekaN/wAge0/64r/KuT+Fv/IS8V/9hiT+QpU6jVOol/V9BtXkhPGH/JTvB/8AuXf/AKClbHxL/wCSfa//ANg6f/0W1Y/i/wD5Kd4P/wBy7/8AQUrpfF2my6x4Y1PS4XVJLu1khRm6AspAJ/Ok2l7Jv+tWG/N/XQPCX/Isab/16x/+gip9Z02x1nTZtOv4UmglXaynt7j0NcI9t8UrHw81nZ/2GzwWxjiYF9xIXAP1rnvhybz/AIS7Sf7O/tnzdkv9ufbVYRltrbcZ4J3Y6dsVf1e/NUUlp2Fz7Kx02i6lfeB9Uh8Pa/M9xpUzbdP1Bv4M9I5P5A/Su41XT7LWNNlsb2FJ7eZcMDz17ik1vS7LWNNm0/UIFmglXBVh09x71w+i6nf+B9Ti8P8AiCZ7jSZm26fqDfwekTnt3wfpUfxvejpJfj5rzK+HR7CaTqF94C1OLQ9bme40OdtthfNyYT2if8OAfpXd6jZ2WqafJaXkUdxbTLhlPIIpNW0+x1jTZbK+hS4tplwynkH0IritP0fx9oEbabo99p19pyN/o7Xm7zEX+6cdh0H0ovGr717S/Pz9Q1jpuiyvwt8IqAFguwo6AXcnA/OqGtfCnSGigudEmltNQtZlngknlaSPcAeGUnkc1f3fE7+74f8Azeuf8eN8Rf7GT+0RaLpvnr9u/s3cZ/Jwd20H8K3pyrOSXtF95ElG3wnW+CfDuoabf6jrGsXlvcahf7A4t02xoqZwAPXnrVPQf+SueJP+vOz/AJSVS+D5m8/V/sf9of2DvT7EL0EOG534B529Ku6D/wAlc8Sf9edn/KSommp1E30/yGto+onxe/48NB/7Dtp/6Ea1fHugt4g8OfZYrgW88EiXMDlcqJE5XI7jNZXxe/48NB/7Dtp/6Ea7G5/48ZP+uR/lWfM4wpyXmVa7ZwPwftr/AFKOfxjqs0Bu9QiWBYoE2oiRlsfU8modc0Gx8SfFm4s9Ua4eCHTInjSOZkAYs+TwfYVr/Bb/AJJ3Yf8AA/8A0I0y0/5LNff9gqH/ANCkraU2q1RrSydiEk4xCL4Y+EYrmC4a1ndoJVlQSXLsA6kFTgn1FdocBMDpivLvi2ZP+EltP7W/tX+w/sbeWLBWJ+0fN97HPTbj3qXwefih/wAI5bBhphXB8s3ZfztmTt3Y74xUzpTqU4zlP7xqSTaSNf4Lf8ie/wD1/XX/AKOeluf+SzWn/YIb/wBGCtH4b6FfeHvDKWGoyxS3RmllkMX3cu7NgfnWdc/8lmtP+wQ3/owUnJSrVGtrMaVoxNS63LI/n3IiUMcKnUiootuf9GtSxP8AHJx/Op7sBb6bybXe+85duBmopd3/AC9XQUf3I+P/AK9fCVFabR3rYYPILfIkl0/qeRWlpr7dy3YiVZCFRMZBOCefwBqi3n7cySR2yeg5P50iS2qwTxiCa5JQyZOcEpyB/wDqrpy9XxEf66E1PhZ0UhkzGYthUt8+f7uD0/HFRPdWzQOc+YMOCijJO07WwO/PFZdpNcTlW0+WNwWZHzPuWMY4YL6ZGMHnmh47iBZJbySJwu2WVDMcqpJLbSfuqDj6hcV9PynLzHNeNvH/AIb0SynS6uXaNI18lYVZWR8hV59Mnr2xV3wj4i03xP4fW/061mtHkkbcjJsZcEoSvYHaCc+xqbVtM0vVZoraaztL2WSOWJpZMJ5uVyBxwyHDA9xjNXV0ewtYRAIlMURG90Ayfm+4VHXIPLe5rdunyJJO5klPmvfQzF02y1ax1HSbhY7qykunE5n4kQKiEtjv8wGfUYNXLjR9PSW1h0q4topo42Ajdcq6qhXJx6bhn2JpssM9triNHqEslq6yI3Ckqw3Eqwx83BXHf5BWHr3jzQdL1aDRtSaNWkxKXkiKCNScISR2ZwAf1pxU5O0dQbjFe8Wrm8MdvAt9ttLiANArIFcE7UU7vrkY9iK3tHs/s2nJJY/YZAx3KxXG5ifvexIC8DuK8+s/iT4b1vWr7w5bw28l1Akm8vEUBZHUELn7y4XG7/YrorS106Jme2lK5iWZbcB9vzKNwbHP93Hpj2qqlKUVaSsKM09U7nQXuoSWzr5zhJTcNGNkO5ecYLHsdv8AOskXsep3tjcW8emyFY9zRArkTZw4z/d27sH1WprK90yO8eG8Nzp15E75jDsUmQH74z1Xpn0rj/CHgTwz4Z1xpIHupfOieLzmRl4VECspBIbcGz9ST60oRhZ336aDk5XVtjqv7D0WYfaLdGtFtkb5IJmEkR2Efc6ZBdv0rj/iZpOvWOjNb6fb3EUVy6s/2aYlY5F2qCqjkAqoOOmarap4I1+6+IkOu6frVwdMWOYCRHGSWiZDGI+7A7Tg/wB2vUp7mO4nkuI52eIRlE2Ls2jK7m3n0z/OtHL2UoyT5v0Itzppqxi6LZXFnaRrcX0czJAyyM8Yba+9nffjnA2jB6Z6da1L+9vLC3vJIpbEjiVPoepIHuRz6ZrP1WeziuEkWVlLs7xliUKh13MWwM4+UjB6mT2rzfXvF/i7QfiBpegTaRb3FjdKoXzZQxJUNgA9dpIA96mnRlWenqOU1TR6Fe/bLOzea9tbJJ5iEETTEoxkOBHx93hAobpzU8f2e3t7iBYJgsz7GXaHLbyoAyOQSMqD09a4D4m6Zrfjrw7ZwaHfMFt3jm895DAzHBXYW6NtypIPOSa7DwJDqnhzwzbadcN9snjtWcmWIBt4G/ywyn5sFsfgacqaVNSvrfYIybla2ncqeD9RWzsm0HUJZY7e1vXhCSrk+SDiJfb7uOO+MVn/ABB8Y6V4N0Ea8kub1l+ytwUNxHhnQezj17EtVD4y3viq3vbLWPDcTpPJMtlIYmXPls5KOQeecLz2qn4v8L3vjrwTp/hrxAxt9UeVLySeMhvKlCbX5I+6W8wY9XBranTg5RqVH7r3MpTkk4x3Wxm+C/jTH4w8RpptnoCw3Tqdzg5BTcvzsTz8pLHjrXoTQPb51K+R7l/KESwMTsi427fc7lx+ANeYfDD4Uf8ACE+I08RRak2oyohSKAx4ba4DeYAPvYVXyvfHFex6Rp8k0Ynnhgubja0M2yTaYgocKVJ+9/dyfQdwarGOhGf7j4Qw/tXH95uQvpq6kZri/V2cxvHKihdrgM/z7epddw4/2h61dgaaS5aaB3tZW8wuy42EB8NjPpnJPcivP/jdpXi3UdO0630RWt2gQx3LPdqgk3AFGJXuGjzx3A9RXSeEre+tNA0zT9ajJuYbVzPvuFIcEZ2g9852k9flBrmlTXs1Pm36Gql77jb5nWzXMImhguWneYzuoAA4VmKjdj+HBBHrtB7Vzun+LIbi+vNFjVpZtNt9001xCWOCRgjHDcc4H92nx6neQKL9bVmm27FZ5RskjGdpJPJ5yc9R07Gn6kzrpV/qU9hPJPbQOxWOLy3PAPUdGGWxjswzWcYJaNFuT6Evk2MiyQ3MrW9tIylFCBtpk7MewDB1x0HFcd8bdDutd8OroOmxCOZpjOshmxIE2yAsxBzt+8MdCGHvW34M8UweINKuby8hnSwtjKkryQGPzI0wxkdf4SG3cjIPPrTfAGoaTr2rzeII9haQSW0axLvjEMSqMZPI3ZDbcevcmtYc9GXNb4fzM5cs48vcxfh/4P1fwz4bsN+oPcXEEreZEsmBGvmbHCg/eXByfocc10ttbXkbSBpHulZ45lRxsjdVjzuX0JGMj6mtWwuIZ3ngkjR5JiJDAwCFDuXcQT6AK+K5rU9SsdBSV9WvEFrd3I2IzmVFflCykYP/ACzzg/3iOlJznVk292NRjBK2xznxMtNa0X+07zwrZ27XupSeYxY/6sCSM/KO4OGPrnntXT+FtW8UyfD20vdeTZePaBiizgSEg5DZHJBU7ifaptR8X+HtLuNGs9Tv7eJLosgjAyrKTiNwuOMl19+R2zTJbMWt608knmMu0FJnXZuxtY5P3VYKpz7kVbk3TUZR+ffoSlaTaZ594P8AC/xMTXhrXibWJbW2Ei+fcROs/mbHwjeo4HPttHavmb4sJJD8UPErybJZDqUsbvt2qWDkZ29s8fnX33p0U2xzKguLSEsi+Y+0EFQC2Twe4PqTmvh34uHTV+IniOzm0lomGoyBniuSW689eM5P6V7GU13VrSbS26HHi6apwWvU4IzPHcJGsQI2jJHGD7064l8mMyOMIu4jvitK3OjSRRpJLeQSqdrAorjHt36U+Ww06b5I9WikXDArLGyYx06+uMflX0HMedbUyxdLPaNJGpwU+U4xz2q5od1HZSQNMuYXjMcoPQowwePbr9RUs+i3SrDHbtayLI/lqI5gcjrmi60rULVQZrSQLkheMg+wx17UXT0uLbZE+nxx2fie2t3IZYLlWPHDIp3ZHsQM1iam89wZ5IiVnlfcwPY5yavLq9/Dqxa506ZmtrJomeKEsVQrtDOO2AxH5V03hb4Z+N/FVtb6hoWmBNPkyftdzKI4iPXJ61hVxNKknKrJJebNoUZyaUFc43TVeOzQXDqW24b16mi5uI40K74ypba2ePyr2MfDLwXoCiTxv4+tDKoO+z0xd7E+maSTxx8M/DahfCXgBNRuF+5daqdx+u2uT+01UVsNTlPztZfe7fhc2+qcrvWko+W7+5HmnhTwn4m1udbTSPD+pXu77sqwnaAfUnjvXplp8GLuxhFz4x8T6RoEIGWjMokl/Kuf8U/Fzx5rlsLeLWBpFq3ym30+MRAj0z1rjru4uLuUzXdxNcSHq0rlj+tONPMKvxSjTXkuZ/e7L8CZzwsNUnJ+ei/DX8T1X7T8FPC//Hva6l4tu06NKdkOfp3qvqPxr1yOE2vhfSNK8O22MD7PCGkx/veteXVsRxRaJGs90iy6kw3RQNysA7O4/vei/nT/ALKw971r1H/ed/w2/An67V2p2ivJW/Hc09V1rWJgNQ8Tand6jeyDfBaTykqvo8i9Mei96xPKiv8ATtS1C6iSW8SWFxKV5AYsG/MlfyqjPLJPM800jSSOcszHJJrQ0j5tM1iL1tkcfVZU/pmu9Uo042irbbHM5uT1ZllVJyVGfpVuz1LUrNg1nqF3bn1jmYf1qrRWripKzRmm1sddpXxM8eaZgWvie/2j+GR94P510dr8cfF23bqlno2qp3E9oAT9SK8uoriqZXg6msqUfu/yOmGMxEPhm/vPWT8T/BupYXX/AIY6ZJn7z2rbD+VN+1fAvVAfM0/X9EkPeNvMUfhXlFFY/wBk0Y/w5Sj6Sf5O6L+vVH8cU/VL9D1geAvhlqhxovxLjgc9I72LB/GuVXwJrtz4r1jSfC5sNfXQrcXl3OswSN4wA2Fz19K5JUMjrGqF2YgKoGST6VsXumRWNldSWt/d291EiW921tKVWUuTmM46hQMe5prD4ik9Kzlful+asJ1aU/sJel/1ubWg/D/xt4y0dPFGl6Wt3bXruwKzDduDEMMdsEGsiLSfEGi+Jru2fw/fXV5o6edexQpu+zrtyGYj6g1Q0/VdV06BLfT9TvbWFPupFOyqPwBrQsdb8VaVa6lq2m+Ibi1fWlNleg/M1wgXk5PoDjPuavlxkW03Frpo0/zfQm9BpWTv1J9F8HaxqWjwa0ttctYXALRPBA0ryYODgDpyD1p01leaacWnha/Eg/5b3luzN+C4wKvaX408ZeDdNtNM0HxFcJpOzfajaNpBOWyOxDZyK0ovjZ8RUHzatbS/9dLRWrKUswu7Ri16tfoaRWFtq2n6J/qcPqL6tcvm+S9bHRXiYKPoMYqi2V+8rL9RivUYvjp40AxcW+jXPrvs1H8qlX43am5/0vwj4anHfNtg01iMfH/lwvlP/NIXssM/+Xj/APAf+CeUb0/vL+dKDXrLfF/SZxi9+G2gS+uxdv8ASmr8RPh5cHN78KtP+sctP67il8WHfylF/qg+r0XtVX3M8kunkjhLRqC2QAD0qKyuHmMkcqhZIzg46V65c+JvgzfRGO6+HV/CG6+RdAUlrc/ATYV/sHxFaZ5JE5el/aNRP3qE/uT/ACZX1WFrKpH8f8jx+eGS2lNxbqWU/wCsj9fcU4albEZzIP8AgJr2H7J8CLg4XVPEtpn+9DkCq9/ofwSWGQ2/jy/in2Fo4poPvNjgdOMnil/akFvTmv8Atx/oNYOUvtRf/byPOr+7N1o2hx2UTzXEry28aFcZbeCP/QqdqN8qn+xISrR2RzLIh4mlP3m+gxgew96uxabYHwDaa9aeLlbX5dSa0GiKmGjRgQXB7E8c+9aWv/Czxh4VhaS60K4lt8bjPbnzlI+o5raOLpc6jKaW9k9L/eZujJwbjFvY4aK+lZo5GjUQyNtUg81Jqn+rh/67LUNjbK17LOY3jUEbEfIIPc47VNqn3If+uy12K9jF251Ytn7v4VU0j/jwT6n+dWz938KqaP8A8eCfU/zqupC+FnvH7E7f8Xe1dex0fP8A5FX/ABr6U+MrMnhBJ/LkkWHULWVxGpYhVlUk4HsK+bP2JkJ+LOsydl0gL+cg/wAK+rfE/ifQfD6xjWb1IPNzsQqWJHrgdq+PzVtY+8VfY97B/wC7q5hxfEzwusKAyX2Qoz/oj+n0rpfDetab4g0pNS0qbzbZ2ZQxXHIJBGPqDTf7R0b+xf7YE1t9h8vzPPwNu31rjfgRqlhd+Grq1t5wZo725kaIqVIRpnZWwexBB/GvNlTjKnKUYtWa/rY6lJqSTZ0nibxloXh2+hsdSuJVuJkMiRxxFyVBxniuK+InjjQ9b8Ly6bpwvpbmaaEIv2Vxn94p9K3b1Fb402YZVb/iTv1Gf+WgrthDCP8AljGP+AimnTo8srNvff8A4AmpSurmP4j1hfD3hCfVpYTKLWBTsHGScAD8zXFfCq/1TStbm8P61bWyy6p5uqQPbvuADtlkP03DmvSdQs7fULKWzu4RLBMu10PQisTwr4M0Pw3cSXGmwy+c67d80pcqv90Z6Cpp1aapSjJasbi+ZM8+8ReJNSfxlJ4utrG3bSvDzSWE6vJiWTey7mA9in612/xVcSfDTWJF6NaEisHX7X4at42A1G5Cak0imSJZGETP/DvA+XPXrW/8Wsf8K41rb0+ytW8nFzpWVtiLO0tTf0b/AJA9p/1xX+Vcn8Lv+Ql4r/7DEn8hXWaN/wAge0/64r/KuT+F3/IS8V/9hiT+Qrnj8FT5fmW90Hi//kp3g/8A3Lv/ANBSuw1K9t9O0+4vryQRwW8bSSN/dVRkn8hXHeL/APkp3g//AHLv/wBBStf4l/8AJP8AX/8AsHT/APotqqUVJU0+36sE7cz/AK2MxPif4UZQyTXrKehFq+D+lL/wszwr/wA9L7/wEf8Awrd8JwwnwzppMMf/AB7R/wAA/uitPyIf+eMf/fIqZOim1yv7/wDgAlO255ndfErUNQuNSuPDOn28+m6Soa8e6JjkbgMQg+h713DQ6d4s8LRfa7cSWl9brJsYcruUEfiM1Q1/wJ4c1rU11C8tZBMMBxFIUWQDoGA4PTvXSQRxwQpDEgSNFCqoHAAGAKdWpStH2as/6/roEVLXmPO7DWNQ8A3X9j+IPtN7o5/48b5Iy7IO0bgeg6H2rT/4Wb4W/wCel9/4CP8A4V2UmwqTIq7QMncOK53SfFnhTVdXfSrG9tpbpSRs2YDEdcHofwp80al5ODb62/4YLOOiZy918R7/AFS/vY/CdhBcW2mxCW8e8JjYgjOFH0zz7Vsaz43MPgrSdc0+zEtxq7RR2sUjYUPIhYbj6cVf8SeBvD2vX0d7fW0izKNrGGQx+Yvo2Oo4HWs34nS6DY+Ek0K4s/tEkyiGws4TiQuAQpX0x61pF0JyhGMfX+v+GJ99JtsueB/EWpalf6lo+tWlvb6jp5Qv9nbdGyvnaR6dKqaD/wAlc8Sf9edn/KSrfww8ML4Z8LW8E6ltRljV72VmLM8mOck89c1U0H/krniT/rzs/wCUlS+Tmqcm1v1Q9fduJ8Xv+PDQf+w7af8AoRrsbn/jxl/65H+Vcd8Xv+PHQf8AsO2n/oRrsbn/AI8ZP+uR/lWc/wCFD5lL4mcl8Fv+Seaf/wAD/wDQjWTreuWXh34s3F5qSXKwTaZEiPHCzgsGfI4+orW+C3/JPNP/AOB/+hGtBPGPhW413+xf7Rt5L3dsClcgtjOA3TNaybVap7t1qQvgjqZ8fxM8JyXEEDXNyjTSpEhktmUF2ICjJHqRXZgjAbtXnXxw1HS9P0Gxt55Io521G1mCKmW2JKrM2B2ABP4V3em3dvfabDdWkyzQyRgo6ngjFZVaceSM4pq9yoyd2mcs/wATfCYmljW5upDG7RsY7ZmG4HBGQPUVk6Frdn4i+LMV7pqXLW8OlsjySQsgDF845q/8GYo28IOWiQn7ddclR/z2eu4SNE5SNVPsMVpUdOjKUYp323/4AoqUkm2YeqcXchmutiZ4ReCarxYB/wBFtT/vycf/AF6nvf8Aj+mMNrl93LvwKgl4/wCPq6x/sR8f/Xr4ev8AxZerO+OyGr5G7MUcly/95un61dtLX7YXiu9qrgFRGcMMEHrVZ/O25lmjt09F6/nXJ/E7Q9Q8Q+EJtN8PiZr1popBIJChZVYFgGGO1b5fZ4qCbtd7kVnaDdrna6pYWUMqyxxTR3XlkQyxdSwBAHuSCTz6VSv72+sBPdalZRXBtyxQxP8AM8Z3YyvXGD39DXL/AAVs/GiaVJZeMPma2YQxyqdj/KrL83XccEc/Su3sY7OSeO6W0uEkVjG+5c5cjaST3xtI9Oa+tqR9nJxbvY4ovmV7WOR8F+ILHxgs0WmQ3MZgIEkmMbGzIpBI+6SgP4sK7GJtUt2M00KtE8iuViA3qpXlW9cHHI7VStNItYmvJdHmSzvJT5byqF2zEKCCQOM+/XrVtdRk2qL7dBH5qhLiPOyTnGDnleeOaVRqT91aDgml725Be3FnJcebCJLeeForp2cFFaNtoZ+eDhQR6iuT8dfD3QvGfiKzvdVgu4k/49sRR7RJFtdmRiP4WJBz+Heuo1i1j1TTRDbyNPbHOGPzDf5gBBI5xgsPp9Ko602rWvhSOfw0JLnUliSW2gmOI5MMoYEf7m7A9aqlKUGnB2exM4qSfMroy4Phz4b02KeTT9Me0u5ZTbiQS/wEhiVJ/vADPvmta/sb1o1+zNM8iNk27qPM2ElOW/iXtnrtLe1Srcatc6LYHWrM2t35sL+YpBEchYgjaOoHA9wc1pxTSNCq3eoGGUbvMBjCtnchHPsGA991Eqk2/ed/xGox6KxnW0k8tlBDMIfNgRtjuQwTH3QzHnopBPfGTWHp91qOlahAltG81okTsttIdsjDCnaM/wASleR1wQRxXTa7p9jcQmx1S4nEFyDGshYKAzBhtyO5BNcTfaHbaB4fe3tZNTktLGA7p3mMkwjyFLKx5JAjbI96qnyv5indHXpqmizRzSKTDOLiGWaGUFWQhlG4D6dSPx601tVKSCxscpE82/z3XKrvcllYHpgkj2xXK+G4NC1nQrSyS+e/W3h3CSVSsmMg/u8HnJIB9eai8YaLq2seC7zT7mS6gDWoP9owyZRSFz5pXqW3Bt2O2DTVKPNyt9Rc7tdHXSSRfPJZyKbo745GP7zeGdCJMdCmCDjsGwOlZ2oWMF1cQagscEdw1y7M3l7pYDGG+aP1GVz9eO9eT/CyHxQUttL03UbfU9HRyLi6jz+5VpCx2scMmCq5HQbT616+2l5sp7pVDu2ZBtRgUwrBlJP+9nHfBHvV1aXsZcvNcmE/aK9i9HYQKgsraWOKQwyISuQrsMAKwPBOMZPXgmqX9oQ6XdKv7oukilo5uuJCULoR6EYI64QnvWtJ+8R5INtnKX+WRxuBlAZfmHYbQv51ka9dW/2AXd7DEkCSqEjlULGrnIcDuSfmXPbzD6Vzx1dmavQwfih4o0vTdKEOuTCC5nnP2NRDkoyblHzdgXGQfcVmeBfF0/iJN0OmzSW4UyyXBk+VZDtJYgcqwQ8gcE59RVHxVFoXi7WbXRNStJby9MhlM0agJFCxBYHn7x9R0b2rqPAdvYeF9Ql0nTY5jp91A18hCcIzSBJQcjOFOMDtlq7HGnCja3vfgc6cpVL30OktbSaGx4tft0u5Y5Jw22Q7TjI/2cdh6mmTRXVnrflyTLHaXYJaFBkk+YOAffcSR2yavXFvPcaahvLqGaJ418xlQkE5GCoHqCc1zvxT8Q6l4T0FZtGsU1C5EyJGjqXdBIWy3PGM7R7CuSCc5KK3ZvJqKuypJpl3f2+oyvLdJaiRIS0TCQqF++wH/fHI/uelebfEP4T+LrzxnZxaPqN09hAsLRsZirAqvz+204A57mvVfAV5cP4Y0yV7dLbbC8im6Y5iOVyuB0wpfg9MelbGqNffbtLnmmszsk3EKSqnnHDfQ9DxkV0U8TUoTfLbqZSpQqR1H6bBZPD/AGfNDs2EpIs3DjB+QKejDDEZHWnlRZiRrq2ma3YbJV3blyGypGeT97/x3FNureOSIwm4uoplYbdh8wsq7yhBPcgZ+uKoI0UQv4dcuGjPkpPLuU7jsY4kUjjooyByMVy2ubbFD4hCG50yx0u2njkkmLR3SxYTMIAaQnHTkdO+SKs+GbSw02NrOOCGFfOEkKKxGYyCu0HucoeD7VlaNEkl9c6/YQqbW5Is0kJJbAZWVyCPm3Ak56/NiutuXkuIoJJoba9sbmDDRopB8zlgVJ7H36YBrSb5YqBMVd8xm3d3ai6KWsEsU6OkrpKgBRQQrnJ6jYcY/Gub1E6hqfiY6a/h0LZrE80UxZSoGN/K9my4X17966LxlreneGYLhtYulitLhCtvK0PmNHK27IPqMdPyqyWhg0aPUppZXXcTIpwGB2shKk89COeeFFEW4rmtuDV3a5y2qaDEbyPUvsUF3EZCYod2GgIAxsLDhSdx544A9Kj8e+ErXxVpsNnBqVwYYYTJHiTB2ouNqkdQwbGK7DwTdQ39k10lxDdo0KGKZX3EoS2AfTnNZelXVisq3VvLZTurte3MNqoJXcvDIDzyvOOvNWqs4y03RLhFryZc8NeGv+Ea0TTrWxke4traCSOaOd2d5UPzKcnqwwBz2Jr4b/aQsblvjF4iW3HkmW8+0bOhG9FP9a+9YFtrqyk2TE6SsW1FjPOMFWQ454wCD718Z/tV2/2P41ajINzpPbW7ox7jYEJ9+V6/WvSyWbliJKT3X6o58auWmnHoeQJFJELeRhvzgSH0q0GfHyqW559DxWdqQmFyBGzESjsf8+1XLB5VhKTOC8agnjjGOv519VF62PJktLjDcDzF+0RmLaeuOR6Guy+GXg3xB421ArpLNDYRsTcXkrFYrcZyTnuehwK2vAfwtivbCTxf4/uP7D8NRHcm87ZrsDBAVeoB/M0zx/8AFA6xaDwj4PtBoPhi3BRbeEbZLhRjBcj+X515dXG1K83RwurW8nsv835fedkMPCnH2lbTy6v/ACXmT6zf3HhDW/EWm/D/AF+DWLXWLVLDUrm6gDEyMrA+W3fo3T19q5zTtU1C78N2ehL4mvbZLZCkdvLMVt2yxJC46HnvVGORrHw3a+XmOSS/eVGVsf6tVCn83NJ4ht449TkKqGinVZkz3VwG/mTXRRwkI25tX3dr3WhzVKz+zouxUv7K5sJyt3A0Lkk7mOd3XBz3FVw25hnoCPfmr0OsGxi2XXlXFtjb5U43LjPb+7+FSQ6fp2ooJtIuVguCAfss79T/ALD9D7A812czW5io3VzOP3ThlPzenTmpVVmYKqlmJwABkk1s6X4L8RXsBuLbTn27jGNzAFyOTx9O9LJt8P7oUw+r/dkfqLX/AGR6v79qFUi9Iu7E4NbiAR6CoZgkuqkcKeVtfc+r/wAqx5HaR2kkZndjlmY5JPrSEkksxJJOST1JpKtKxLYVqeH/AJjqEX9+wmx9QA39Ky61PC/OreX/AM9IJk/ONqU/hYR3MuigdBRVCCiiigAooq/o9nHcyvPdMyWVuN87DqR2Uf7THgfn2obsrglcs6f/AMSqwGqPj7XMCtkp/hHRpfw6D3ye1RzfuvC9up+9c3jyH3CKAP1Zvyqpqd5JfXj3EiqgOFRF+7Gg6KPYCreufu7fTLXp5VmrsP8AakZn/kw/Ks7aq5VzLrV8RfuJrfTF6WUIR8d5G+Z/1OP+A0zw5Ej6ok0wzBaq1xL/ALqDOPxOB+NUJ5ZJ55J5TmSRi7H1JOTVby9BdDS0eaO5gbR7twkcrbreRukMvb/gLdD+B7VnTwy287wTIUljYq6nqCO1R1sT/wDE3003Q5v7NAJx3liHAf6r0Ptg0fC/IN0Y9FFFUIKKKKAGzRiWJo2JAPcHBqp/Z0X/AD0m/wC+zVyRisbMBkgEgVQS41CSESpBFhlyPmNJ2LjzdGP/ALOi/wCek3/fZqJrCaKRzbkOJBtO/kj6VDZySG4h2yStKSfNVhwK6jw8kR1SOe4x9ntVa5lz02oN36kAfjUaWuW3JO1y22n2Ns13pogh+1WWnL/pAHzmWPDyc/TePwFP8H/Enxzos6yaVr10livSCc+Ykn4N2rD0W9ku/EkGoXTEWrT5lz/y0DkhifbBNPv7f7BdT2smF8iRoz7YOKxlh6dVclSKa89SlVnTfNF2Z6p/wtHwp4gj8vx74Hspmx817Yfu5B74qufh/wDDjxoI7jwV47FlJu3LY6mm0k9hu6148N2oPk5W1Hb+/wD/AFqvHZGmeFCj8q4/7LUNcNUcPLdfc7/hY3+uN/xYqT+5/ejt/FPwr8caBG00+jvd2wGRcWZ81CPXjmuA0xHitFjlRo3BOVdSpHPoa6Lwl8QvGui3Kvouv3kFmh/1UjeYkn4N2r0EfFbQ9etmg8deCNP1CTacXVoojkz6mhVsfRfvwU13jo/uen3MHTw01aMnF+eq+9f5G1+yJ4PsfEWseIry8mu4TbwW8aNbzGMncXJBx16Cvcr/AOHeoaRra6t4YuI7yR7c28sWqSGUAHPzKT069K+M/BmpWukaBDr3gzxLrS/EJ9ZWOLR41bypIc8Bh0I5/pX1Ivi39o3aM/DvQs45/wBMP+NeTjpVZ1nOMkk+j0/4c7cPywpqMlr5HeDwNcf8KzPhj7an2ov53mY+TzN+/bj+7nj6U7wT4b1q28Sy69rv2GGb7GtnHDaDClVP3m964L/hLf2jP+id6F/4GH/Gj/hLf2jP+id6F/4GH/GuDkrNNc0dfNG/tYaaP7j1HxT4K0fxFqcGpXj3cV1DGYkkt5zGdpOcHFZn/Cs9G/6CWtf+Bz1wP/CW/tGf9E70L/wMP+NH/CW/tGf9E70L/wADD/jSjTrxVlUVvVDdWm/sv7jvv+FZ6N/0Eta/8Dno/wCFZ6N/0Eta/wDA564H/hLf2jP+id6F/wCBh/xo/wCEt/aM/wCid6F/4GH/ABp8uI/5+L70L2lP+V/cbUvw11u2hvtB0+4s5dIv7gTvc3GWuY+ckA9+vBrsPiqnl/DTWIwSQtoRk/SvjbxV4m1+81jxdqnjrxPrugeO9Ouo10TSbNn8gjP3VA4I9/x5r6w1661W9+AZu9ciMWqTaRG92mMYkKDdx25rWtTqKVOU3fXt6ff6hCcXzJLodzo3/IHtP+uK/wAq5P4Xf8hLxX/2GJP5Cus0b/kD2n/XFf5Vyfwu/wCQl4r/AOwxJ/IVwR+Cp8vzN3ug8Xj/AIud4P6/cu//AEFK1/iX/wAk/wBf/wCwdP8A+i2ryzx7Pct4w1O6vbvUoNZsZQNAigjJjdWA/A7iMHPYV6V45aZ/hfq7XK7ZzpUpkHo3lHNdE6fL7LX+r3/UhSvzGt4S/wCRY03/AK9o/wCQrgdM8PReKPG3iltR1HUlW1u444UhuWRVUxIeg9ya77wl/wAixpn/AF7R/wDoIrmvh7/yOnjT/r/i/wDRKVlTk4+0lHf/AIKKkk+VMX/hWejf9BLWv/A56P8AhWejf9BLWv8AwOervj7xHqmi3Gk2Wj6fb3l3qM7RKJ5CqrtUtnI+lch461Xx6llaprFnBpmlPcBby506RpJUTHp2Gcc1rS+sVLe/a/mTLkXQ3rn4X6PLbyxDU9aBdCuTeucZFZnhvwLr9tqWiQahJp6afokjPBLAuJp8qwG78G59TWl8H7u8uItVjF1eXmkxXAXT57pSJHXHzdeoBrd8a+J7Xw7ZJ8hub+4Oy1tU5eVvp6dyfalKrXU3SvcajC3MHjXxRa+HbJPlNzf3B8u0tU5eVz049Pes/wAFeGLqK9k8SeJHW51u5HA6paoefLT6evtR4K8MXUV43iPxI63OtzjgdUtU/uJ+nPtWl4z8TWnhzT1eRTPeTHy7W2Tl5XOcAD0461lt+6pat7v+uhX96QeM/E1n4bsBJIrT3cx2WtrHy8z+gH9aoeAdB1K0nvtf16QNq+pbPNjT7kKJu2oPXG481D4M8M3bXx8T+J2WfWZh+7j6paIeQi+/qfatjxj4lsfDWnC4uN0s8h229vHy8z+gFJ6fuqere7/ReQf3pGB8XZY/J8PW28GZ9ctWWMfeIDHJx6DIruCqvDsboVwfyrjfBvhq+m1E+KPFRWXV5B+5gBzHZp/dX396sfFi51O18ISy6W00ZMqLcSQrukjhOd7KPUCnKKk40ov5+oJ2TkyhD8LfD8AKW13q0Ee4sI0vXCjJ7CsHS/hzrtolloTXFidGs71bpLrb/pL7WDBSfqME+lVvBup+KF1O+h8Ibta0dUQiXVHaMpKc7lU9SOldV/aPxM/6F/Q//At66ZSrwbi5p+pmlB9BPGvhrW7jxLDr+hfYZpvsZtJIbwZUKS3zD3+bn6VueA9Cfw74YttLmmE0iFmdhwNzEkge3NYn9o/Ez/oAaH/4FvR/aPxM/wChf0P/AMC3rGSqSgoOSt6otNJ3sxB8L/D6SStb3WqW6yyNIyRXjKoZiScD6k0v/Cs9G/6CWtf+Bz0f2j8TP+hf0P8A8C3oGo/ErI3aBoYXPJ+1PwKfNX/nX3oVofymgttHYwx2ZvJPJgURoC2XKqMDJ6k06IEf8etqB/tycf8A16VGZiWgtQHPLO/Az396SXb/AMvV0Sf7kfH/ANevg6kuabl3PQSshqeTuzDC9w395un61YhkuIpkkeSJSD8sYOAx9Cajk87GZp0gX0Xr+dMi8vdm3t2lb++/T9aUJcslLsN7GdrviS1s/GVrp6tNDc3FjL5q/wDLM45Vh69H5FdeYohut5rhmWVABGzc4HBI79xWDqEEGm2s+sJZxXE0Kki2DBvkO0dW+4ByTj3rHu49U8S+DBHaJcac0ystsJyFkHzghWbqCMYGP7pr7ZKM1FrRdzzruLdzp3tbebTjFFbNNan5omjOx1JYg46EYB615Z4t1vxpZ/FCDS9HuILjSHuy7rJIp2lU3SKT1XjdjPHFejeGtL1LTtHkt9Rnnv28qRZC025nPBG3HQnLA/QVQ8RaDoFx4istc2v9rV1UG3YH5s4yy9GyNwOewNaUZxhN31WpNSLlFW0NJtPvrVReacsDTMhjdUJC4AYq2zpuyxz/APWrN0/U5beJLa+tj5tvdvGAPl2HduRVbphgAMHqDitG9lto/Plto2dZZih2TkYOFJ+XsCQc/j61zfjDxD/Y+ujR73TJryPUET7OEO9UdQV6Dk5xxno2KmEXPSw5NR1L+reKNIj8RW/h2bXoDeR7ZkiLBZWZWKlcY74JHrtIrfnv5ZiZTbCG1iG55JsZZMNuGOoxgN7gV5jrHwuS/wBftfFbahcpdw3CmWJpgUUs+/JzyMeYeP6Gu8VY7Wd3vGEbyJjZN80TnYwGxh0+/jH91TVVIUklyO/cUJTu+ZFDW9UlsdLlaOwOoTWkTnZFKGyyKB9xuOwbHtXnXwq8ba1461e5t9YslV47ckRIBESkyDeWzwRkAgjsrV7ALuS5gl3QqEuIWMAWPktwud30IOfQ1kG2sbXVRJa2kAiaKdXWCNQwO4kkj/Z5/wC/nTFXTqRUJRcdej7CnCTknfQtWVpp9rMsKWMlsF2mAOqjAO0tgn+4SWx/smrC3qaoItO+yyGExlhKJdp3JwenGM8HtzUrXvnN5F1bC6MFu0kcqAb5GCgEoO2QxrlvFnjPQfDMraLcRTNOYlktsgsX3OrOh9DznH4VlGMpuyV2W2orV6E1vo1pFqyNZWj2MEpa3fyPmhLjp07lkwSeOvrXNfEbxd4w0eGxNrp8F9IcwthMoXZCNpA4xn8sEV39vp809iFsAkdtE6+UiynazKzBiO4BzSR6cl5bbftMqsqBWeRlIOSDvGOA6lcfhzVwqxUryVyJQbVouxyXhTxv/a1kLfXFFlc3FwSInidPMQ4CgDoGKlWIJxluOlVvFtrqXibR9Rm0x7kmO2kgjlKFTIgjLMoU4w+7H1+Xng14h43+HHj/AFTxZeyRx3P2a5uy8NzLM6xQLvcCM84wvHPcBSOtfR3haz1K30zTdMv5rdLxIERiykhpEwd6sTzkDGD2xXbiKVOhy1Kck2+nYwpTnUvGSOV+DOn3Vr4KNxqkSG7e7dFkniJDxlRu2sOepIx2IrpPFdwLFYtUhtTHe29wu7bJ85t33qXIPcqoPfmuUnt/ipafEwJbx2Q06SNkwFCwNgBmYD++3zcere1eiX0V9JYOvl2bxpIwKyNuMaNvAQ456OmPSues/fU20766P8DSmvd5bPQP7Su0u5rWe4lWOIKkYEeM5bgsQfQfrTdSvZpxDshtL1Wnia8WFCxAZUK8P0ypz68fWuWl8Tajofw+nlvrezurjTlFtdSzD5mK8KG9yBwfUivMZPEPjzxpcnXvDL/YoGdDPHtzsZcAgjrjI6djn1p0sJKd5aJLr0CddR03Z9A/bbfMnmLEgEbyFbdd2WjIBB78bQpGMHeBXkHi34jXtj8QLXwzbarZNbr5YZpYd0BdwNqjnPcdfWvUUi1lbmG5u0s/N8vznBxjarIzYbHAJx9Cqn1rE1vwzY3viddWufD0E1xESoYxqfNIIOTt54Bxn/YFRh5U4SfOr6FVVOSXK7G74O8QyanqEmjrbXVvDa7gsrxEiVMDADdBjdjnnKHNReLFuLmK30D7DMZb2UI0nmBykO3a0gPUAbkBx/f+taIjlMKfZrN45ZIw7iS4wz54bcvc47+oFee3njq00zxI+tXlnfyQXbLHYOkm5f3ZKvHg9CzOF/FfSop03OV4L/hxykoxtJnZHU7PQYII9Tuglhav5UVyqkEbcDaQeo2g5IH0qaxvrSRYprC8Z7TULX/R0iyjFmO8MqnjiNgePQio7i5s7jT47W60PznQxljNH1AVQsg7jP8AQisvR/F/h/a1gNy+W2Tbsm1oGDFCqf3SHQtj0YUuRtXSHzWe5v61b6dqMMNjeCC9uWdA/nKFkjL5KkDoMckDnkAVR1GJtUeWyh+YTx/PGVLAKchsNgEFd64x2OK8N+KPiOW4177ZaQappkCOLceccB5AS285OQ/t34x1r0z4dXUM2iW9/Bqd9qJaUATsrFZY9zqq891K4+ig966J4WVKmptmcaynNxNfzfCegw2+lafqix3dyypDbNLh+WDHHbK/OQD6kVc8P6XDp2t3d9punmd7547h5JXCrGGDYCA8jgj2zmucn8FeC73xUniLdqSzW8Ql2eadp5ADDPrxyOvzDvXQeHIdH8N2D+ZcXN8+7gtKX8yNcMsgB47jgdyayny8vuttve5Ub31SsPvLKa2nBjkjKSTBLmK13BkYbSgQHsTHtJ9h7181ftbx2CeKtEvIpJmlltWt5VdcLGVbKp+p/n3r6pebR5L68vr+5jVdiHyyzZUKzLuI+pH0wD3r5e/aQ1G78Wanq2j+E/DD6gPDL+fqt/G+RAuw5C/7IGSc85B9K7Mrm411J7LcxxiTp27niWnWN1qN/FY2FrJczzvtijjUsxPsPzr1U6H4R+EFhB4g8ftHrHiRl3WOiQkFYz1DS/TjrxVLTviN4R8F+GobT4dw/wBo+Jbq2V7zVLuP/j2LDlEHqDxxxXlWuQ3Ou3kl5q17Pc3kjF5JnbLOevP54r15/WMwuleFP7pS/wAl+L8jmh7LC2cvel+C/wA3+Bu+K/iBrHxB1M6hq90Wjj/1NnHxHbjsAvfjv3rGleO3YZfbuGMlc89P8KrafptvbREAk7hlsnkVMbT5w25n9NxzivVoUo0aahBJJdjiqz9pNyk7m1rm1rPS7ZXUhLTcwHUNIzN/Ij8qLoCfw/Z3m0+ZbytbSk91PzIf1YfgKreI5HXWZ4I7iJzbhITlcfcQA9PfNP0X7VcW1/YMiO8kBkjAbA3x/Nx7ldwpp+6mRbWxhajZSXsgbdiNSeB6d+PWrVnGsEAhRd+zkEnk5pEuIxIxMTh8ngD8D/j+NK9xC20btpHY8fhVpK9wbk1y9D2Hwf4t08afpj3V60EWmW7R3SsnOSAqY/vZ/pXB+OZWuPFd/dmIRpcSebFt5DIR8rA+4GapaYc+Fb6ctlpbqCPp0wshP9KsabLHf2q6TduqOCfsc7HiNj/AT/dP6GsKdKNOTmhzm5JRZk0U+eKSCZ4Zo2jkRirqw5BHamV1GIVp+Fj/AMVHYD+9ME/76GP61mVc0WTydZsZumy5jb8mFKSvFjW6KjDDEehpKs6nH5OpXUPTZM6/kxFVqaeggooooAltYJrq5jt4ELyyMFRR3NX9YniiiTSrOQPbwNmSQf8ALaXu30HQe31qRf8AiUaZv6ahex/L6wwnv7M38vrWPUL3nfoPZDkUu6oOrEAfjWj4oYNr10i/dhYQj6IAv9Kb4ajWXX7JX+4swkf/AHV+Y/oDVKV5Li5eQjdJK5bHqxP+Jp/aDoaMX+ieGpZOkl/MI1/65x4ZvzYr+VZVaniRljvY9PQ5SxiWDju3Vz/30WrLohtfuEuwVPYXU1ldx3UDASRnIz0I7g+oI4qCiqauI0dZtYU8u/slIsrnJQZz5Tj70Z+nb1BFZ1aOjXUK+ZYXrEWVzgOf+eTj7sg+nf1Gaq31rNZXclrOAJIzg45BHYj1BHNTF20Y33IKKKKoQGo7ZPLhWP8AujFSUUBca5SNS7YUDqasWe6Xw7d3LArFdzLbxg9XRMO5+mdlZUqtd3rwucQxYJUfxEjNdF4iKWi2mm5CrZ248z08x/nf8shf+A1nL3mkaL3VfqZR2RxnoqgfgKn8Sq2qXttqGcWt3bJKf9twNr/qpP41lDdqEmeVtVPH/TT/AOtXRSbZPCkTcA2NyYz7JINw/VW/OiW6YL3fUy/ljTsqj8hVH59QfjK2wP8A33/9aj5tQfjK2oPX+/8A/Wq1JNb2wVXdYx2FVv6Cty+olzKtrb7lTPRVUevaoE1BUkaK6UQuACO4Iq1LHHcQ7W+ZG7g0yzsVWQJEjSyyEKN3JJPQU3cFy213PrD9mXUfh9oXw506/wBRewXWZpZZjM9sTKgLkAbsei/rXrn/AAsnwX/0G4/+/bf4Ve8FeGtP0Xwfo+kfYbdms7KKFmMQyWVACfxOTWv/AGdp/wDz4W3/AH6WvgcTXpVasptPV9/+AfSUqcoQUUc1/wALJ8F/9BuP/v2/+FH/AAsnwX/0G4/+/b/4V0v9naf/AM+Ft/36Wj+ztP8A+fC2/wC/S1hzUOz+9f5Glp9zmv8AhZPgv/oNx/8Aft/8KP8AhZPgv/oNx/8Aft/8K6X+ztP/AOfC2/79LR/Z2n/8+Ft/36Wjmodn96/yC0+5yOq/FPwdZadNdRakLmRF+SJEYF2JwAMj3qXwr4v1G916PRdc0ddPubi2N1bFJN4ZBjIPoRkV0Oo6DpGoWM1nc6dbtDKu1wIwDj61leFfBWj+HLt763lvLify/LWW6nMhjj/urnoOn5VfNh+R6O/9egrTvuat/oWh3moR6ne6TYz3cI+SeWBWdce5FcX4hvrnx5fz+GdEbZpET7dSvuz4ODEnqfen63ql/wCNtSl8P+HJ2g0uFtuo6inf/pnGfXrk122iaXY6LpsWn6fbrDBEoUAdT7k9zQn7FJy+Louwrc22xZghWC3jhT7qKFX6CuK+FbK2oeKyrBh/bEnIOR0FN8Va9qOuarJ4T8JyYnHF/fgZS0U8ED1f/Cun8LaDYeHdIj07T42CD5ndjlpG7sx7mlb2dN828h7y06HH+IfHlza6nqctnoKXmnaI4S+uWYB14y2wd8Dmq3jf4heEtS8C6tb2uqK89zYSrHGI2yWZCAOnqa39c+H2g6trD6lObyMzMGuYYpysU5HTevetXVm8N6Dp4utSSxs7ZMKHkjH4DpWinQ93li2/69SWp63ZN4TBHhjTQQQfs0fB/wB0VzPw9/5HTxn/ANf8X/olK63SdT03VNPS9026huLU9JEPy8fyrhPhjrGl3njnxhFa30MryXsboFP31ESgkevII/Cogm41Hb+rop2vEvfEL/kcfBv/AF+y/wDopq7h1V1KsoYHqCOK4f4hf8jj4N/6/Zf/AEU1ddrV4dP0i8vgu828DyhfXapOP0qaibhTS/rVhHdmT4x8S2fhiwjVYTPeTny7SziHzyt7D0HUn2qh4M8L3Ud8/iTxI63OtTj5R1S1TsifhjJqr8N9Fe9VPGWtTC81PUIxJFn7ltE3Koo7HGMmt3xl4ms/DlgskgM95Mdlrapy8z+gH6/hVNOL9lT1fV/p6Bv70hPGfiaz8N2CvIrT3c58u1tk5eVz0AHpWX4N8M3jai3ibxOyz6xMP3UfVLRDzsX3Hc+1J4M8M3hv38S+J2WfWJx+7j6paJ/cUevTJrY8Y+JLLw5pwnnzLcSt5dtbJy80hzhQPwo+H93T1b3f+XkG/vSE8Y+JbHw3p3n3G6W4kOy2tk5kmfsqisbwh4avZ9SPifxVtm1WQfuIOqWaf3V9+mT7Cjwf4bvZ9RbxT4q2y6rKMwQfwWcZ5CgdN3qfaty08U+HrvWH0e21a2lvkJDQq3OR1HoaH7kXGnq+r/roG7vIxfFXi7UrHX5NF0PRxqFxb232m5LybQqHoB6k4P5VDpXxT8G32mw3M2pLbvIuXhdGJQ9weK0/FfgnSfEV7He3El5bXKp5bSW05jMif3Wx1FamnaDpGn2MNnbafbrDEoVAYwTj60c2H5Fo7/16itO5gR/EbwPGu2PWIUHosTD+lO/4WV4L/wCg3H/37f8Awrpf7O0//nwtv+/S0f2dp/8Az4W3/fpajmodn96/yKtPuc3/AMLK8F/9ByP/AL9v/hR/wsrwX/0HI/8Av2/+FdJ/Z2n/APPhbf8AfpaP7O0//nwtv+/S0c1Ds/vX+QWn3Ob/AOFleC/+g5H/AN+3/wAKmsvHfhjUrlbHTtVjnupQRFHsYbjjPpW9/Z2n/wDPhbf9+lqpqltp9vbbvs8MDMcBkQBvwIrHEVKMKUpJPbuv8hxU21qZ0vH/AB9XX/AI+P8A69LFuA/0W1CD+8/H/wBeiLI/49bXb/tycf8A16bLsz/pNyzn/nmn/wBavjTtCPys5ggedv779PzNOl8zH+kXKxD+6nX86WTzMZuLhYV/up1/OmR7Af8AR7ZpD/ff/E0AV59D0nVCBLeXdtNJlIxE5QsOpz/eGRnn0rM8aaB4w1bwpNYeHvEce64RfJe5gCPDggjkcnIyCevT3roUmWBjJfXBCBGykQ6DHJPfgVf+zebteO3aN+SswlyflO1f++l/Q19Zl2Jk6MJdu/kcVWmrtdzhfCR8UaPodr/wlUH9ptJNH595ZzbWZj8qhozycZXp/dya0NP8TeFNTtmltWkFyhR2ivHFvISGbCnd6EnI9CK6jTLEfaHvHJjuPNbzUR8q33sAj/gWfXpVPWtGsFheX+z7aYs5d2khDbVAyRk9ASOvvXc6kZSd1r5GSg4rRjZLnSfMa0utStorpmbevmBpXjYkAE+uR1H90VzvipNQs2EulNaTar5/m208qfJMNvEb9gxIAyMEblauS1r4U/8AFwrbxJa+INRgsmYNGqPvVHBTCluycNn0C12niD/hIbOxzNHp0iQXEVzhmMZKxyowww7kgDnrWvLCLjySvcjmk0+ZWLujXt5f2UA1CMfa7mKOW6gEOYOVTOw8Z5P3jzwfStSxtUgvYo5Ld5LedjJCZuWt3UHCY7DG7B/DuKw59cFpaLYa1pd0v+jC5R4087y13BOi9cZDHnofaqXhXUUs/NabXFv3lcPb4k2GNNwPlvu6DLk59AfSs3BtNlqSTRqeINQfw/ocmpW8twsccbuyiEtD8obCjPK9MenSvm2w/aA8UHVo72GxtBb5xNujXcQYwGG49WymQep6GvqGSDUdat1jujbrbuqrNAD82CCJAcceoHqDXl9x8FvBek+KLKZt5tgRJNG8WVDH5Rj0HA47Y967MFVw0FJVo3ZhiIVpNOm7I7W6fWtR8LNq2i2FiJzG7w5LI67RlQfYgFCO+7NcZ8K9K1zUL1LnxxDa77dyLSaUHzHLgMpbIwx+YDB6Yx2r1HUbf7GUgsfs6zSPwhO1dnyrtIHHIBUE96dutLC0WLUI5CWjzIFUmOLLEj8cnAPXpXLGtaDjFb/ebOneSbexJcPNZ/KzAyhQnnRkcKGZsbPXYCffnFYY23t3PpkPmQbZVeWVouGVmP7sAfd55JH9ameaSW6jitWzdzRBWngyyxoD94577dg/4EfetO0awjtLW4hDx/Z2WNmf92WBXGWz1GMGsl7pe5S0WztLiw+yfap7dZrcJ5K3HzBhkFschTjaeOnTtVyGOG6sbdbiyN7OJgHlwFG9MKZM9sDOPXFEtlZxzLPc2cVrbz24ikIkA2s5HynHvgAj1NEcH9nalcWjII7C9AEcgJyshULtPpnGQe5NJu40rFfUtOudPk86xmjlhmkBdLlS+CFOCpHtxzxinxXVrDdSSxNJbzJGkksEkefMQhMeWe4GCPqTntV26MlvZPYRzuZCqrG5ThFI2jcfqDz15rlvD2k31joN1YatdHVphKUjlY7vJRQkf3h8wJK5wf4gx6U46rViej0INTtLKPx7Jp2oQrLpmuho54JowFaQICuPU/f59W9q6XSPDmm+HdNa30632QeY7yBSEyHxuZj/ABHjOepNYvizQ79tMe3s5YbuWI+dbrJLid2RWYx575O38DWt4c1y21SBZLS4eQTpiL7QwB5UurBepBDDHqAKubbgrPTqTFJSd0aL3Bjijt2+yyo2FLM/GCygJt6klWz+HvTYLEo8EbB0fyJFaVCSwLMCcMe/fpVSeRJ4FG9xMHRvMEAXczf6tuegyAv4YNWLvUFj1KBlj3uI2jeNRko5AYAnoBwefpWNn0NLmB4r1BLZItJsZ4kvLucW9rNOhPkj7rq3facN83q49q8s+O3hfxFf+JdDSxsDHZnNukVvOd0a4Bd+OM/K3v0PUV6dpktxqd9eeJWnBijxbLAyAgxDYWmUHlSSWB9lU9RXRSw2djpH2uXY/mbWmcnfv3DDYPbOTzwOa66Vd4eacVqYTpqrFpnMeD/D95pvh+OL7Xcam9tGYY55Zt7SKuFK7e4GGHPJ696r6F4X0Wx8QzpFbSQzXbu8rT4BIKBTsHJB+Ycn+7XS3f8Aoep/brFgoZhDIrJiNQ2MnP8AeBXP/AqtQWlr9qULMI55FcR7nD+dF5gckf8AfRHturJ1Zau+5agtPI47x74P0zWPDw0nWPLMT3AX7TDxggFI92ASG/eAE+gFbHhnTNL0Hw6PDUKziLTg5eIpnzGYiTejdSAX7e/pV3WLS5t4VtUmDQlT5ZdggduAEY98gY56gn0FcB8W/ih4V8E3jyahcGe+uFeNbWycSuyYAG4e+M44wNvoauDqVUqa16ky5IPmZ6botqlxZ2VxJaxquwTLl9zBznv6YOR6E1xnxG8deA/C8Qttb1WG2jtydtjDGDM77sqyY6DIIIPFeY6D4p+LfxL0uGHTHi8G+HCCo1CfLXE0YbGAfXBx2rvfhx8GfCvh6IX99pba7qcwVpLu+mEwJLElkB4A6H34q3RhRbdWWvZf5mftKlTSmtO7/wAjlB4h+KHxJiiXwho0PhbRctENY1Nh9qkXoxUYzkgc4rndQ/Z61G10fWJtC8dazFc6tE8OpZQql1n7gbHTJYDjsSfWvou9ijv4Xs4YPIuoXCJIkeVjBcnp6fIMn3ovi9rLZaaEjC3V0FLbuSqKG3Eep2449aFi5LSCSXb/ADvuOOHW8m2z809M0mLTpXQGVXXKup6j2PuCKu3LPHA8g3cc89eK7/49+H4fDPxa1aC1iaGwu8XdsGXaNjjPA64DBxz6V5/GZPtBWRVEYGUbPUc8flX21CcZ0oyjszxKvMpvm6EFld3DuTNCFXuc81saHDHe67Y2xAKyTp5oJ5CZ5/TNUHYdERhgjqMAGrPg2SSa+upmjMD2FvLIrFec7CuPf71VJtRtcSSbvYZcFGvri42482UyHPJ+Y0+yuDa30NyxIVXDEj+6D/hVZF2tjLbsfd7EVVnuZkmj2QeYjHqOoGPT8Kp2SsSk2y9qekmw124DMzbJDwGyCpHyn8iKb5aMfL2A7O7DNWvEs8tzp+nX1kP35gFvPv4G5MBee52baqW27ykZ1UMeDtPBpQelhzvubKr5fhJBgDzL9+nosa//ABVZtal78vhvTV/vTTv+qr/SsuqhsZyNpf8AieWm086pbp8vrcxjt/vqPzH0rFp8UkkUqSxOySIwZWU4II71qahHHqVo+rWyKkyY+2wqOhP/AC0Uf3T39D9aXwvyDcyKcjFHVh1Ugim0HpViNPxSoXxJqWOhuXYfQnP9azK1PFHOtSSf89YoZPziU/zzWXUw+FDluwrT0a3hCyanerutLYjCH/ltJ/Cn07n2qpp1pLfXkdtDgFskseiKOSx9gOasazdxTPHa2eRZWwKwg9XP8Tn3J/TAolr7qBdyreXE15dSXVw2+WRtzH/PaoaKKoRqeH/3Zv7r/njZSY+r4Qf+hGk8Noq6gbyVQ0VlG1wwPQlfuj8WKiltf3Xhq+l6GeeKEfQbnP8AJfzpT/onhkdpL+bP/bKP/Fif++azet/uKXQzJHaSRpJGLOxLMT3J6mm0UVoSFFFFABWxB/xN9NFqeb+zQmA95ohyU9yvJHtkVj1JBNJbzpPC5SSNgyMOoIpSVxpkdFausRRXMCavaIEilbbcRr0hl7/8BbqPxHasqiLuhNWCg9KKDTAf4Vt47nxTIs3+pQrLMfREXc36CqviCd72686bObi4LOPrk4q/o3+jWetXh4a4aK0j+mAz/oFH41l6j962/wCuw/kayWt2bdUWwFRMDAAH5VNoBbVRqOn8i2mtmK+rvGQ4/wDQSPxqvL/qm/3TT/CV19hksLsjKxOrMPVf4h+IzVTV1YmDtqIiqqhVGAOlUby3mN0Zo40kDJt2senvRqguLHWbi1WZpZY7hozEem0Hg/lg/jTvtF7/AM+i/wDfdCkpIfJKDGQaeyRKrXMoIHZuK7b4KeDW8V/E/RdI+13KxGfz5mVuVSMbyf0A+prjfPvf+fRf++6+gP2Q9O8S21xq3iyw8Nw3q7RYwu9wE2nIZ8cc9FFcuNqeyoSlHfobYeMp1UmfRJ+H0mf+Rr1//wACjSf8K+k/6GvX/wDwKpf7f8ef9Cdaf+Bw/wAKP7f8ef8AQm2n/gcP8K+NvX/mX3o920O35if8K+f/AKGvX/8AwKNH/Cvn/wChr1//AMCjS/2/48/6E61/8Dh/hWx4C8Qv4m8PLqUtn9kl86WGSLdu2sjlTz/wGlOdeMeZtW+QJQbtYxv+FfSf9DXr/wD4FGj/AIV+/wD0Nev/APgUas+KvFWq6f4nttA0bRU1G4ltjcMXm8sKobFV/wC3vHn/AEJ1p/4HD/CmpYhpO619AtDsJ/wr5/8Aoa9f/wDAo02T4d+ahjl8U6+8bcMv2o8j0p/9vePP+hOtP/A4f4Uf2948/wChOtP/AAOH+FO9f+ZfegtDt+Z1WiaVYaLpsWn6dbrBbxDCqO/uT3Ncj4q1/UNb1Z/CfhSTE3S/vwMpaoeCAe7/AOFRahdfETWYP7Nh0e00VZjtlvBdB2jTvtGOtdV4X0HTvDekLY2Me1R80srcvK3d2PcmsbKl783eX3/NlfFotEHhbQdP8N6SljYptUfNJI5y8jd2Y9ya5TWdZ1PxdrD6B4WuWtrK3bF/qSdj/cjPc8HJ7cUmu6tqHjLVJfDnhudoNPhbZqOopxjsY4z3Pv24rtNB0iw0PTItO063SCCMcBR1PqfU03+79+esn+Hmw+LRbHK/8K+f/oa9f/8AAo1j+IPh5qkF1p+q6bqVzrUtlLvNlqM+Y5Bx+RGOK6bxr4nv9G1TStL0vShqF3qHmFFaXYFCAE5P41S/t/x5/wBCda/+Bw/wrWnPEWUrrXvb0JahsR+EvCepW/hjXbW/eKyudYeRxFbtlLbcgXC/lmsrwh4P8QQ+INFm1Gx0/T7fRVlUTWz5e73qwG706g/XNaGqeI/iDDptzND4OtfNSJmTF6G5A44xzXO+ANf1SbxVo8MHiC81c3qSnVLeZMLaEKxXHpyAPwrRKs4zldfn08vLuT7t0jqfiF/yOXg3/r9l/wDRTV0fjL/kU9X/AOvKb/0A1znxC/5HLwb/ANfsv/opq6Pxl/yKer/9eUv/AKAa5ntT/rqWvtf10Kvw4/5ETRP+vKH/ANAFYWgWsN/8WfEd3eL58titvHa7+RErRAtgepNbvw4/5ETRP+vKH/0AVk+Ef+SmeMP961/9EimnaVV/1ug6R/robnjHxDa+G9IN5OryyOwjt4UGWlkPRRWJ4O8N3txqJ8U+Kdsuqyr+4t+qWaHBCgf3h3NR/FIZ1Lwn/wBhlP8A0W9WPi3qWo6Z4ahk0+eS1SW6SK6uY13NBCVbc4HsQPzp04vljGO8uoN6tvoddOnmQPGG27lK59MivHbX4deIZU0/Q7hLWztLC5M39q28mLmUdh6gnvVrwf4i8VLeajZ6HG3inS4WXyb65m8tsnO5QcfMBgc10n9v+PP+hOtf/A4f4VpCFXDtqLX3ktxnuJ/wr5/+hr1//wACjR/wr6T/AKGvX/8AwKNL/b3jz/oTrT/wOH+FH9v+PP8AoTrT/wADh/hU3r/zL70P3O35if8ACvpP+hr1/wD8CjR/wr6T/oa9f/8AAql/t/x5/wBCbaf+Bw/wo/t7x5/0J1p/4HD/AAp3r/zL70FodvzE/wCFfP8A9DXr/wD4FGj/AIV8/wD0Nev/APgUaq6j4z8VaSLa41bwpBBay3UNu0iXYYqZHCg4x716CrZQN2IzWc6leFm3v6DjGD6HEf8ACvn/AOhr1/8A8CjVrTdFl0NpII7691FpMN5l5Nu8v2FZWl+NPFWsxTXWk+E4ZrVZ5IUeS8CFtjFScY9RW/cSGRt95cbWYDMUZ6H0968zOq1WnR9nN7+nQ1oRi5XQ2Xbn/Sbok/3I+KWLfjFvbLEP7z9fyoi3AYtrUIP778f/AF6bL5ecXFw0p/uJ0/SvljrCLy85t7dpW/vv/wDXp0u7H+k3QjH91OP/AK9EnmAZuLlYh/dTrSRbc/6Nalj/AH5OP50ALblVcG3tcju0nGR3+ta1rdSxiJLuGOJZFJTy+VQBQdpPr972wKyJeP8Aj6usf7EfH/16s2uqfZ3tbP7HL5Mr7BK33V74P9K9XK61pum+plVWlywtzp5M0j3bxATrKc/J24+qnbRqouLuyuIWgaMowMTj5g+cgEY5HbPpUUbxvrSw+fEy7HLq5UkouCMDsMv/AOO+9OuXtYYza2UzvNPxEiuSoIJOcjoM5z7V9BbU5iGG1t4b+9sVhNv58UfzoQyEkuScHoSxYe/FS6hfQyWsmn3QdnZGS4eJCVi4PzYPOOP5Vxfiv/hLHutLOkR289jPJ9nazfI27A7DzGHPO0DPYj3FddYrPbu9nGyxTyQN9jZ8y7CME5Ppkjg88GtJQslJshSvdGOItQvLW1trm4EAtZZI1cHJ3K2BGR3zjr0KmtW30XSdVsVg1GwtHQAAWuz7m05Ge+QGGe1S6WmoWup3UTwW0kT3IlLpJukXenJI7DIwP9mm6jbRrfNG0sCXEzl0aeQjzlHJXjptOz67fak5O+g0jItfDv8AYeo7rDVNRtbUGNWST54iAy4I/UHPrmoNbbxFBqpWSPT9UtxbqbjDlGba0mPkHcZB4PO0108FzHeWjxXFxJBcQeYZNwC7cZG49scgj8DWJayS3mtyQSRlRI7LIA3+odNr5zj5vvHpwR9DVRm27yE4roRW/iizVIzqtjc20d0ihXKbggUgKVIycZyQT0IzV6fWLe5msodPubacbQwEsn3cZ5kHfpke4NUort7MSaVCo3vcBoELDYE8wtkYz0CtkHA+X3p8fhLRZ7KW4azhuL3fgvEu3buwxXjgqNx/A0NQ3YlzG1YaBa2unS20c0knnMjmYn5zjbjkdvl/Wmak1xZzDdbNdQsu2RmO4MpYZG0d8NgH0FZtvpWpWtw32bWtSaSJGCxyRBosqg4GevL8fQjtT7LXNaiGZ9L+2QiUpmBsz437dxjOMAdz9MVHK273uVddrFHVlk1TSZdP05/sVxcpJFlMjcCSVxuzhl3lv94EVNJDPpXh+1Vbpr6bT5xM29SzPCAGdRnjdjke445rzzx38TItB1qPStDs5r9WnWbybmIhYJHJIZW6kbuo7ZI716xZR2smksLO6ii86HabfzgUjkcLxxyOT0963qU504xclozOEoybSeqFd1hNxctOk0TkOokAxL1KgH2Pt2qWESQ3jEyRh52SGR3Qr5jAFiVxx90n8RWfo3mWdtL9sQxSWXT5dxkgyzKAP74BwcenvVX4ha/LZ6ODZae2oGSaLYiBm3LkF8heVIVgawUW5cqNOZJXZ5j4u8D+PG+JV7rFnqjLp6yJ5UzT7TEhUDIz0bC4J78V0fw5bXJtLuvDXiDRYotQsVV0McwLsPmIw3TGcgAdO/Wu4tWgn0WTVbtDcpLGwSGKQsSj8FQCepA6Vx1rr+mah9g8USfbIoLYSQSRhcIyySFN24gEjlOemCDXZ7adWHK0tLL5mHs4wlzJ7mrCt/d3Zt5IXnWQBBcoCrFArK6YPAILggf72O1eYXfxP8X2Piy50pdFSOF2+ySmSORjuZciZsdD29Mc17vcxra6c9zFJIxaPy2RD875zsUEdDl8Z/OuM0yzbWddv/ELTQShoYktGWQI+8YJO3uOD164IHU1NCrBcznG6HVhJ2UXY3tMktoLiONbNbYRRrngykxOo4HoCUYHP8RB7msvxFHNr2h3eiDVvsyO67PJiwVBwAg9Au5Tz3HpWteapJp9uJpWe4tRGCShUPkYynPJ+bIPoSK888W/Fr4e+HZx/ZEg1zWbiIwx2djBvcZx5YkPQbcAHPWs6UJzleKuyqk4xXvM9D0dJtK0iWzfV1ufsyKwkYbsqg+YnHABVenrmvP/ABV8bvAfh8SWKXn9q3MJaOG304b5CH5yr/w7fuke4rnhofxZ+JkUkmt3y+C/DMtuHawszi4kgK8A56Zwep45rW8GfBXw78ON+r6XD5zzZjZ7xhKFXOVbOOCR8vHdj61uqVGDftZXfZf5/wCRl7SpNe4rLzMO+m+LXxKW4mmePwb4cnUt5TSeZcS4wVXB+4Txg8CtPwn8Lvh/D4fu20mFtWnmtyJdRuHWS4jLArgHOFwQ3I9QO1eqXWnRXukb4prYJNamEqrYIdQNpU+oKDr6V4h8JdPvvBnxC1Pwxb219qFhF80d20ZUyQABzhcbXBLE4BzzWtOo6lOXI+Xl1sv8yJU1Cacle/U2/D2jeOPAlzpGhaKI9U0pZd1w8k+JRhgWVl5GPmkPrzkfdrtvFGo+I9CW2i8Pr5+wtHNE/wA4jTaCMHoCpUjnqDXYXU/+hRyQwmRkaGTeibTJk88DkcevHNT3siwRs6uI4p9zTSMQRGNuOB3OcfrXJPEuclKUVf8AP1OmNLlVkzKEgu5rKaeR4rq4R4TNC6qVXzN0Z987Rj1BakvZWk8QW8O0TtA0gL53FCxXb06Hk/gD7Vylz4BkuPiLa+I7fxBIkS4jksVIVGMY+Qc8nA546YIroFlb7fLLZXFzDd3SCKNdg2GeJerE84YEDn096iUYq3K76fcNN9UeIftf+FJJdEsvEgtxHLprLDMxyTIjswZsnqN5U89N1fMyxqwLM/fPt0/lzX3r430FvFGgan4b1W/a0S+ieCATEMTlTt4PAbk8552ivhjXtFuPDes3uh3gxdWM7Qvg5DEHAYH0Ix+dfTZJiOam6b3X5HlY+naXMupTby2zGBk4xV22Vv7A1SeORY5WEVuh3Y+8xJP5KaqKvT5sgHkHmm69ZXEnh6zMTgGW5k4HBIVUAP5l/wA69mpscVPcjiVzEgZcsq7WGev0pEt5FuWk81iDyqnpmi1V44IvN++gx1/Pn/PSp2bocceme/oapIltpmjYL9r0K+tgWDwhbuNTzuwdrD8iD+BrMhTDlunbA4/StHw5IsOrW3nMVhdjDJ7o4Kn9DUF1A9rdS20n34nKN9QcUl8TBvQvat8ulaPH/wBO7v8A99SN/hWZWp4g+X+zov7lhH+ZLN/WsunDYmW4VY0+8msbtLmAjcuQVblXU9VI7giq9FU1cRpatZwiNNQsATZTHG0nJhfvGf6HuKzavaTfC0keOeMzWk42XEX94diPRh1Bpuq2Jsp12yCa3lXfBMOkif0I6EdjUp2dmN9yx4i+aayk/wCeljCfyGP6Vl1qaz81hpEnraFf++ZGFO0mNLK2Os3ChtrFLSNhxJKP4iP7q9frgUk7RG1djrz/AIlOnHT14vblQ12e8adVi+vc/gKx6dLI8srSyMXdyWZieST1NNqoqwmwoooNMRrXSP8A2FpVpGMyXEss2PUkhF/9AP50zxI6/wBpG0ibMVmi2yY6Hb94/i24/jWqALbU4p2Hy6Tp0cgB/wCepGVH/fTg/hXMEknJJJPUmsoau/8AWpUtBKKKK1JCiiigAooooAvaPeraTulwpktJ18u4jHdfUe4PIpmqWT2F4YSwkQgPFIOkiHowqpWvphGpWX9kSEC4QlrFz6nrEfZuo9/rUv3XzDWuhkUUpBVirAgg4II5Bq5olqt5qtvbucRs+ZD6IOWP5A1TdlcSQ3VgbaW303GPJgWaT3kkGT+ShB+FZGo/etv+uw/ka1NTuTfalcXrDBlctj0GeB+AxWTqbor2wZgD5oPJ9jUJWiaJ3mTX0whgJ2lmb5VA7k1FpLkQfZpFKSRABhVi5gS4i2Nkc5BHUH1pttbpbhm3szN95mNVZ3EmuWxs+IFSQ2WpbVDXNqu9sfxp8h/9BFYhvrT/AJ+Y/wA67HRfB2u+LPCMT2saQ28Vy0kDSPtM6MoDAe25R+ZqkNHh0OUxS6eLzVYzjyREWjtz/tcfM3t0rCFWOsYvVFyp21kUbWOwtoI7zVpwiSYMFspxLP6f7q+/5V9t/C3X/BfhfwFpOjtr2kwTxwB50ibCiRvmYfgTj8K+dP2c/h/deLvifDqmu6fI9hp3+lXDTx8SOP8AVpz7849Fr7EPh7Qv+gPYn/tgv+FfPZ1iYOSoyd7a6Hp5fSaTmvxMz/hP/Bn/AEMun/8AfypIPHXhG4uI4IfENg8srhEQScsxOABTVi8FNqh0pYdHN6OsAjTf0z0xWF8VdH0m08O2k1tptpDINUs8OkSqR++XuBXjQp0pSUbNX9D0HKSV9D0Bj8uR6VxHwW/5FGb/ALCN3/6Peu0i/wCPdP8AcH8q4z4Lf8ijN/2Ebv8A9HvWcf4MvVfqU/iX9dhLv/ktVn/2B3/9GCuw1G+tNOspLy+uI7e3jGXkc4VR71x95/yWqy/7A7/+jBU/xjVX8A3isNymWEEHoR5i1coKcqcX1S/MlOyky3/wsDwZ/wBDLp//AH8o/wCE/wDBn/Qyaf8A9/Ku2fh/QjZwk6PYZ8tf+WC+n0qb/hHtB/6A9j/4Dr/hUP2HZ/gV75mf8LA8Gf8AQyaf/wB/KwNW1y88c3raF4VuWj0tTi/1NOhXoY4z6479q7L/AIR3Qf8AoD2P/gOv+FOuJ9G8P2O+Z7TTrXdjOAi5/DvxVRnTi7wi2/MTUnu9CqkWj+DPCsrwwi3sbGEyPtHJAHJPqax/DPjebUdYttN1TQ7jS3vYmmsmkcMJVX73ToRkfnXSXEem6/ossJeO7sbuIqxU5V1NeffCbQY18Qavd3d9d30mk3cllY+e+7yYsDOPc/0FVTUJU5ynv/X6ik2mktjX8X/8lO8H/wC5d/8AoKV2t1cQ2ttJc3EixQxKXd2OAqgZJNcV4w/5Kd4P/wBy7/8AQUrX+Jn/ACT7X/8AsHT/APotqmUeZU4+X6sadub+uhH/AMJ/4L/6GTT/APv5UFv4y8AW8ry2+taRFI/32QgFvqQKn8K6Boj+G9Od9JsWY2yEkwKcnH0rT/4R7Qf+gPY/9+F/wofsYtrX8A95nB+JvEmg63448IQ6TqtteyJdysyxNkgeU3Ndz4y/5FPVv+vKb/0A1Pa6NpNrOs9tptpFKvR0hUEfjioPGX/Ip6t/15S/+gGlKpGUoKK0X+YJNJ3Kvw4/5ETRP+vKH/0AVk+Ef+SmeMP961/9Eitb4c/8iHov/XlD/wCgCuf8FahYz/FHxfDDeQySFrbCq+ScQgH8jxWlner/AF1Qr/D/AF0M/wCKOsXVz4jsLLSdKmv20K4S/v2VsBE2HCj1OGz+Br0HSL6y17Q7XUIVWW1vIVlVXXOVYZAI/GsHxP4Fsta1V9RTUL6wmmQRXQtpNonQY4b8sVc1fUtH8E+GIUI2QwRrBawJy8hAwqqO54pTcJwhCn8QJNNt7F3UNR0Pw3ZK15cWem25bC5wik/hWb/wsDwZ/wBDLp//AH8rJ8M+GbvW9Q/4SfxhCsly4/0SxbmO1jPIBHQt0yfaup/4R3Qf+gPYf9+F/wAKiUaUXaTbfkNOT2Mz/hP/AAZ/0Mun/wDfyj/hP/Bn/Qy6f/38rT/4R7Qf+gPY/wDgOv8AhUV1ovhu1t3uLjTNOiijBZ3eFQFA9eKS9h2f4f5D9/yKP/Cf+DP+hk0//v5WjofiTQtblki0nVba9eIAusT5Kg9M/lVTSrLwjqsDTabaaVdxqdpaKJCAfTpWFpFnaWXxiv47O1it0OlQkrGgUE7pPSq9nSala6aXUV5KxY+Mn/Ir2f8A2FrL/wBHrXYx/wDHuv8AuD+Vcd8ZP+RXs/8AsLWX/o9a7GP/AI91/wBwfyqZfwY+r/Qa+JnBfCueOHwJL5jld99dKMdf9c/StyLI/wCPa1Cj+/Jx/wDXrD8AWl9YeGo7WW12Sm5uJTvOAA0rEfoRW3Lt6XN0WP8Acj4/lXzecV1Wxc+XZM6KEbQQkuzP+k3LO39xOP5U+PzMf6PbrCv95+v5UkXmYxb2yxD+8/WmyeVuxPcPM39xOn5CvLNgi2ZzbWxc/wB9+P506XcP+Pm6C5/gj4/+vRLuHNzdCMf3E4/+vSRYH/Htan/fk4/+vQARf9O1rj/bk4/+vVLxFZnUNHu7GXUHilmiKxmI42v1U8e+Kuy4/wCXm65/uR8f/XpYt2P9GthGP70nBq6c5U5Kcd0JpNWZ8sfDTTvF8PxBs7WG2ukvILx4rtCzFdm2QSA7uChwv64619gWtrHBbwLY+UkGAX2jO9duBg/lzXO6rHM9mGs/Lm1KKVHj2KAdu5d31wMHB67a2LW+S70FJIYHuUbELiEbMj7rMo7AcnHWvt6uYf2hCNVK3T5/1sebRoewvG9xug7JLZbmOGORmkaFpBkERjgZz1ICqD7inTxQ2tyy+WgTYCMPsCJwrFjnnAJP4VJpaM1nPHC0FszSMyCJclcnG4g9SSGq1M1vI0sI8mSdUwUfHQ9j7dKxb1NktDHltYofFse/akVzZLCvzfM7xsWA/AZPvVfxl4Stdfure5ulmnEcibollKAoueOOvJ/U0ksz2k9rPujjmtyYZozkkKXIQ4PPQHDd8+9dPFIJIUlwVDKGweo+tU5Sg1JMlJSumc/4keTSNMe9gjjPlMkSxH5hOhAGxs9yeAfpXiHjb4h+ItNawm0W3nlGp2fl+a1oXbcAz7Co5BKyqwx3LjoBXt3iG5WKzmubvLYXyJII2wxJYFTGT1bJX8ayrLTL231GW/1NIbh44tuxXCGKNmYA8cA/IDntvYdBXThqkKes43MasZS0i7GB8L9M1PSdVW+1xpJxqZEFuXP+rAiHyn1+64/DNekm9NvHJ5scflxruHlNn5NxA4+mD+dUNWkZYL+RbUFC6FZWyUK7Ms2R93jK5HcitN1t7ayzamCIbQkbEZXk/KPcZP61z1Z+0fM0awjyqyFN06vcGS3dYIlyJP7/ABngVnSX39pKEsW+zySCSJpHT51OG24x7jP4VCl614k1wJCFeMLLZzDK/wAahlI7Mcc+gqzK9wbMtGlusMT+Ysi52hVySAo5JGMe+anlsVe5xnjCTSbLTp9ck0+G7aC3RbdGUB42UvuiHuGCg59RVfwANJ8bWcevWdlLp0ySyqV5ieCXYF3AfxA5J6dQpHSu2gtEtdNv/tW6TBMm6SMbVZlDNsPXbu556fhVVtNih85obHMkYDRTW8w8xSyNnj2J4HfcPSt1VXI117mXI+a/QxtW0nxNYNZT2+r+e67Qyz/vCX4JCE4xnke2aZrN3rf2GaXUdJmtbkIFt57aQMPMMahskddxJX/gANb+qwrcNPHcCMTPGUEqkjDBQVIPbJBHHtXH6/8AEyxt9b03w/BbXsBu4Y8MYf8AUEruDL67flDA9MinT56myuKXLHdmV8JLXUNBt7vTbrxNbNdyMrxQ3cJB3KRtG48c8jjnJyK7DxMk2qaHLHa26O6pLCZS6hQvzHGB/CAFIP0rfns5LwJcJdJPJAGUpLAuyRg2VPI+X0yPWvN/iXZ6Xpvhi/u9JiKahfwx/ZljuCJI38vaVKg9No/nVRn7arfq/wCvITj7OFuhxHw11pfDmitpEfi+J9cu5fJSwNyPk2ynJBYkDMasQPXHY1Nq3xh0LQ9XvfC/hzQX1u93JHHFY5lUyBixbcOmS3QcZJr5jsNHil8I6r4Sn8B6rdeOLjVUay1ZNwWGL5fkPYd/++h6V9ifDbwHovwu8NRXtpazrfvaJLJcRAFnIIaSIhvQZPHOAcV6OJjTjJymrtvRbX+7oYRjLlSizkNP8LfEr4iTxzeMNcj8M6VPhl0yyASZwNvBY/dyDu+ua9R8I/C/w34Vjb/hG9OtVlht2EN5kNPJKRyJGPUEgH2rZ8P6vDr+ly6kdP2JcSBdk0ZDr8zIT6jhAfxz3q9aw215Cs0kKWk/nIGUMwDKTgHHqRnFedWxFR+7suyNqdCC97d9ys99q1laTpqUqSR8xi5EORnawwV7fwnPc5FWb+5aMm7g8mfyLYM/73CEruO0r2OSCPx9BVSeOWymtY0maREuWKlQEG1ckhs/e+XHP+znqaq29hZiGbURera3KouHIOx0QupZl6MSA+R6YzWNlua3ZkaL4iuNQ8VSWkWkOi2c0sixSEAqwPz4P1J/TtXRz3FwDKWhiFvYSna0JO9V8xsHHoAgB9cn0rG8SX+pWug6pfSadBf3EVvP5U8UZCO0cT4zjnJYMCPpXNfBDxp4h1m1v5fEVhJumaNWuGiEeMRZOexxkZ/E+tbuk5QdSK0XmZqdpKLe53HiKa40+xv9QaG3kuvKZY5B8omUruKAdzhDg+oxXG/CLX/EHirR7u61myFvFZsUVWj8t+C7MQfUMF59811Oi6ppviG7SCwu4ZHiTy5lSHevlFPlYn7ucrxjpurdkhuV1uU2UNu5WMEO+QIzjlOO5znPp9KjmUIOEo69+xVuaSknoch8UrrXlWGTwo0aahbOtxdvdgfJCEdV2E9ctkcd296l8P8AiiDS73R9HvYbie/niIupUj+VJZCNm70DYIB7YFbXiC30ubw2rRNMyeaIgVYksHwGAJ6jHI7ZAqzc6bFAbWZJIEnZlUTRRH97yAucZGMEn2OD2pc8eRRaDlfM2mU9a0G11y5Ml801qbafzx+8xGXMaBgfXAB/nXzr+1J4EltbhvFlukZaKUx3yp/BC7t5EhPfOMH0JFfQmm3l9NbRieHM6sRKyxCQvJ9wsM9RtC4PfPPNVvGY0/XbS701xI8F/YSWl1HKg2EEKEIHYhpAc9PlOegrfB4meGqqXRGdelGrBo+CHKgYboTjijUftiCyj3BF8nLA88sxP4ZGPyFaPi3wvqvg3X7nQdUzJcQNw6nKyLngj/PrSeKQF12eEYC2ipbA5yPkVVP45B/OvtlNTs1tueFZwumZm1Yxj+E9QfXpTd2xuOccED0zioLu1894pVdwUfOPxzzVpPmB4Kt3rQl2sEX8RU/KT+Va/iT99Pb6j2vbdZG/66D5X/Vc/jWWK1EH2rwxIg5ksrgOP9yQYP5MF/76pPRpiWtw8T/Lqixf88ra3T8REmf1JrLrU8Vn/ipL9R0SYx/98/L/AErLoh8KFLdhRRUttb3Fy223glmP+wpNUIirT0m6hkgbS79ttrI26OXGTbyf3h7HoR+NKNDuoxuvJrWxX/ptKN3/AHyOaltP7DsLuG4kuLm/aKRX2RxhEODnBJ5xWcpJrQpJpm5deD9a/sbT2vbV7e3tTN9ol67I927cB3yM4rltXvfttyGjTyraJfLt4v7iDp+J6k+pr3U+NPDd1p263voZpJkKpak4Z2I+4c8D0rxR9P02Z2S21E20oJBhvE2EH03DiubDVZSv7RWsa1YJW5WZNFX7vSNRtV3yWrPH/wA9IvnU/iKoV2pp7GDVgqazha5vILZPvSyLGPqTioa1/B0Ek/iS0WNdzoWkUe6qSv64pSdotjiruxc8TzKsE/l8G/vHlH/XGMlIx+J3H8BXOVo+Ipo5tVkSFt0FuBBEfVUGM/icn8azqmmrRCTuwoooqxBRRRQAUUUAgnC8n2oAKVSVYMpIIOQR1BqWO1upP9Xazv8ASM1Zj0fVZPu6fcfiuP50nJLdhZljUwNTsv7XjA+0Jhb1B/e7S/Ru/v8AWm6V/o2k6jfdGZVtYvq/Lf8Ajqn863fAPhy/m8TQQXarDbSI4nUupMiY5XGe/wCldl488F6HbeFWltPMsY7NzM2wF9+7CnI7ngfrXLPEQhJU+5vGlKS5jxuqE1jdXF6/2e0N2ZF2gKCSproxdaNb/wDHtp8l239+6fC/98iq2qazq0tsVtbr7Ei87LZAgI9OOa6G21ojODs9ySz0C9t7OP7fNb2Sqoy08gBPHZRzVZl0OZjH595fRqcN5Y8pHPpk84qkkkk9mJps+Y8eWJOTnFR6Vxp0WP7tLlb0bKva7tqe2+BPH2gppFnpNxE1jNFiCKNQWQjOF57fjXnPjHxTqF5rV7dedcWsbSlUt1OGGONvHfiuLivbkPHKsxeRmwYR/DX0N+zh8N/+E48e2/jrV4FbSbJVmaBuVa8HG0+uCA5+orhqujhFKs1/X/BOiMJ1WoNnpfwF+GnizTfBMdzfeIr7R7m/YXDwRHcwyPl3Fu4HGK9D/wCEL8Qcf8V5rH5L/hV/4o6vf6L4Slu9Oby5WkSJpiufIRjgyY/2etcb4W8XeIrfWL7TLPzfGFpFFHKt4jqmxmzlCehxgfnXy7qV8RzVrr7keyowp2iUtJ8DeI7aay0qbS4Hltr9bqTXTN+8kQMGIx1yQNv0rtfi9/yK9rn/AKCln/6OSp/C3i+41TxDcaHf6JPpl1DAs4DuGDKxI7fSuW+Md5Nd69Z+H7rWBommiAXwuiP9ZMjEqmTxwVBxSTqVK8efS2v9bhaKg7HqMP8Ax7p/uD+VcZ8Fv+RRm/7CN3/6PetL4bapfax4OtL7UFxOdyFsY8wKSA+PcAH8azfgr/yKM3/YRu//AEe9czi4U5xfRr9TS95J/wBdBLv/AJLTZf8AYHf/ANGCrPxh/wCRDu/+usP/AKMWq13/AMlqsv8AsDv/AOjBVn4w/wDIh3f/AF1h/wDRi1pH+LS+X5kv4ZHU2XFjAf8Apkv8q8z8MWHiTxRJq163jDUbJYtSnt44YQu1URyB1+lel2f/AB4Qf9cl/lXHfCD/AJB+t/8AYZu//RrVnSlywnJb6FSV2kH/AAhfiD/ofNY/Jf8ACsDxJ4I8Rwanp+qNez+K4bUsHsLxwg5xhx2JGMc+tdd4u8WTaLrVho9lo8+pXd5FJKqo4UKqFQck/wC8KydU8d65plhLf33gu7itYRulfz1O1e5xW9KWI0kktfRf5MiSgaXwt0TUND0C4i1CJLZ7i8kuEtkfctujYwgPtiqnwt/5CXiv/sMSfyFdnazLcWsU6ghZEDAH3rjPhd/yEvFf/YYk/kKx53ONST30/MuyTSDxh/yU7wf/ALl3/wCgpWt8S/8Akn+v/wDYOn/9FtXmHjzWL5/GOoao+sjT73w/IU0ywK/8fauBu9zuwBx6V1PxW1S8l0DSdMmuP7Ls9ZHk392RnyUZQCvoM5I5ro9hK9L+vP8AJkcytI7Twl/yLGm/9e0f/oIrh7S18QeJPGPiSGPxTfadb2FzHFDFABgAxqx6+5Nafwd1K7vdEu7S4uhewafc/ZrW8AwJ4wqkN+pH4UfD3/kdPGn/AF/xf+iUrJJ0pVO6/wA0O6koi/8ACF+IP+h81f8AJf8ACorvwHrd1ay2s/jnV3ilQo64XlSMEVs+NfFDeHpNOt4NNm1C5v5WiiijYLyFyck+wrOPizxN/wBCPd/+BK0RlXaUlb8Aaht/mdBZ6OLHwsmiWszgRWn2eOQ9eE2g15t4T8H69b63occ2jW2njSZne41COXLXYIYYI685BOa6S78YeKI7aWRPA91uVGYf6Qp5ArlPBnizXLjX9Ekk10ai+qSyLeaaFx9iADH6jBAHNa0oVowm9Nf8n2/UUnFtHp/ivX7Lw7pL6heliM7Io1GWkc9FA9a5vwp4fv8AVtVXxZ4sQG7IzY2ROUtEPI4/v+p+tL8U1VtR8JhlDD+2U4I/6ZvVr4r6zqGjeHIZNPm+zG4u0glutufsyEMTJ+GB+dYU4vljGG8upTerb6HX1yHjXxRcWt3H4f8AD0Qu9cuQdo/gt14+dz268DvzXI6B4m8YTy6noeiOviJY2VYNXdwqIWzkNj72Mdq7zwV4Xt/Dto7yStealcENd3kn35W/w5PFDoqg7z17L/MOZz2MWLwZ4l8tTN481Uy4+cqq4z7cVleLfAPiW70nbF4pvtU8uVJWsrkhY7hV5KEj16UfEfxBqcPix9LXxAPD9pBZfaIpio/0mT+7k+mBx15qx4c8b+K7rw9aXlx4NuZnaLc0izBQ/uAeRmuiPt1FVE1+C/r5EPkvylv4b6Hqdprmp6xdaTFo1vcxRxR2UUgYFlzlzjgE5H5VPaf8llvv+wVD/wChyVveDtej8SeHbXWIbd4FnBPlueVIOMV49pniDU28VweJTqwbVrq8Swm0bZykAbGfXgMWz71MIzqznzaO1v6+4bailY9E+Mn/ACLFp/2FrL/0etdZcSNHYAoAXKAKD0ziuT+MfPhez/7C1l/6PStfUZkkdFkuGVFUARqeSe9eVj8R7HCxa3bdvwNqcbzZXmxn/Srok/3I+P8A69LFuxi2tRGP778f/Xoi3f8ALtahP9uTj/69Nl2ZxcXLSH+4nH8q+SOwJPLzi4uGlb+5H0/IU+Pzdv7iBIF9X6/lRH5m3FvbrCv95+tRv5OcTTPcN/cTp+QoAdFtH/Htalj/AH5OKJf+nq6xn+BOP/r0spI/4+braP7kfH/16SLI/wCPa1x/tycf/XoAWLd/y7WoT/bfj/69Nl2Z/wBIuWkP/POPp+lLLtzi5ui5/uJx/KnReZjFvbLEv95/8KACLzBj7PbpCo53P1/KopbdoLG4FhOIQ8pkVVlGA+QTu7nczEn6Clk8rOJ53nb+4nT9KUW4lmt5GtlhWCQOrE/MPX8/evQy/F+wnaXwszqw5l5mtZXsb3MrzfuX2QowKjG5i2MOPvckr7EH1qxdiz3BplQuGToMsCXG3pzjcB+VY9t9st5ozD5Mm5VmuUVMJIASCyejj5CR34rQe9Eai8+zcvCxCBcyPt5Az0xjJ/GvpGuqOZMztbhZtWuEWZI3uLQJHKcDyyDkqf8AZYDv6VOdSsj4b4kjAa1kChTkfIMFQT1PPSue+LWtxaP4R1DX7a3knuYbYxQbfmVt/OSvoCnOenNeIfBr4ua/4v8AFy6D4na2l09oJZoRHEFWJwpxvxyUwzD1yQa7aOCqVqLqraO5zVMRGnUUHuz2m+1aCGzuPGGs5+yxAJpsJQngAljjuWwPpgV0+k6lY31490skX+lQxoibw27a8oxxx61DPDbXlnBFLKt9GZVkWKKMKUIIKkD+EDBz65qtbQQf2o8GlLb2O5Q3lhMZI3LJgjoceUePaueTjJGqumE1xJZW8a/Z2t0uZGWW2mbcFTO3J9BjJ47KaZ4b02/a1iuGUQyp8rwXAJ2suNhwDjITaPwrZsbKz8uZbiVbp2IVzJJvwCCFGT6hv1NUbYvp+vS2KxNGL1WFvJnqyLnJHsCqg99vNTzaNIdtVc07ZLNWswtm0LbG8rcu3ZgfdPPXDHj2PpQ0qQ3NtBeRoGJLRSLwu/ONuPXDVi+FrXWbXRkt9ckW5XJMEy/JLAHLDac91Uj5u+afquoXVrpstxpaXV/I8v7qGRAcsTwoY9BlW/MUuT3rXHzaXLl20OmyL9ohna3luDhw5fBK/wAQ9M5GB7VD9qtIb37QqW7So6pJMSVIjwSCQOmAGHP92otNjdFs7lIJ0ZUjknim+QRDyVGT16AH8QRV/VJ7KO2uriYCazeIpMowFGM9T6tuAo62AqSQ26zfY7lXOZGih4P7oNjYVHp8v3vUGse+js9EFw+uSWcMc0guWmK7jyRuUDGSSfToAKfNrF7dW5GjTo8jOFS+uUPkS4YgKh7Nz16ZFV/ENrZ6Ev8Ab9488928/lmR3EiEiQKuEPAcrheMcDmtYp3syJPS6ItY1XXk0iXWVdLKxjh2iRlAnl4fAVeg+bb+tZXhXw9bR6hEurqYYEBmEDpt8vO7GSTnIyox7Csbxb4203wvNDqWuH7TP5DT2+n2qh0txkghlJ5Pzfe7ZNdv4d1ax8QaY2ofZt4lAK+ewR1ePK7m9CQByODgVvKM6dO9tH1M04yla+qOgttKs7geYbaSKaL/AFbvEEOCFIB/vYwAc+mKSEpLbQ2d7DbOYpUQhwVO7n5gO2cZHqKr3spLyRLNNdW0zfZ5EyQ+drnaOnXj5vauE+KXxG1Lwbp+nyW1m13NciQl5VBC+WdgyOu4kg1z0qU6slGO5rOcYK7O8s7zT0T7PBeWRktki3qrlDnOVyf7uD+tBlHmBftD2ltJcAxHIy6Y+8p7qWZTz0JNee6non/CTxf8J5afaIbyS3xb2zDy12IzjBB4J5P1ULXYeHJNStfBsv8AaX9kvcwJJKFtssrRFSY8KehyFGO+KqdNRV09evqTGbb2NHULWNVlsdPuHhmihCQcl9jEnGcg4xuGD6H2rm/iFrFjpfha6ivrNLu3zJEojJR4mZCDz0BJJA9dwqLwX42s/FUMt1f2t1aJFcSLukBCunzIfu+23OfWrniSO4uZ7PT7by7mGJgZUncBlQB1Ug/xtkID3AZTTjBwnaa2/rcTkpRvEZYhpfAMdxpSXNv5dszxC4YDf+7yqNzzllBOP61Bp1lfvbwre28cd0isLq3SEhSMq0ZIHUqGcFh2bpW3d3lvLqM1jayedL5nnLbBANioQJMjvlScevFeP/EGbxxovxC+zeH7hzYXSqYILhSZPL2KCST1AbI+m30rWhB1W43S66kVJKCT3Ou8Oaxpej+Kb/wwbdLVnMckN0+TFIrMcoq9QPlVR9R6Gu11vX9C0iyj1z7UxjgDM7ZOWRicqc9SGAGOo4FYDeE01I213r92s+r6ZCCy2y+XGI3BBKnvgHrnqgo+IerQ+GfCet38MFheGUgrHJJ5guCx7pjgnJ5HoKmSjUnFR3ZSbhFthp3iqHxR4dg1q088adJ5sn2Y7Q6hCEK89D84OD02ml0Dx9o2pahY6Hp8l1JcXBXy06JCElyUJHRgnY9cYr5u8E/FfxFJ40tFuWgkgvJ44p4o7VEMisRvHHQ9cEDPSvpzw/Bo+mJLN/Zn2UQYmt5IvvMHX7pIHv1PXAPaunF4P6s7TW+1mY0K/ttYv1OksLSA2yGbG2T/AI94wSCCGZ8D6dvas7W7UTWLJdqY7qKJ5Iw4ysijJZdw/iKcEf4VftxJaQHyorhyJ3kOG37lJKbgT36NgdyaZfC5j02WZooY23K0nmSfvOfkLZ6KSnH1JrzU3c7GtDyD4ufCzRvEuh2l/wCHlnF/aIt7HIH3faYmYb4ix/j242j2r5Ku5pZrye4mBLyzM7blwck8596+vvAHijxrN46utK1fTojpllPJHAfsuPLwwALkfxAAc4wa83/aj+GM+k3b+O9HhgjsL9lbULeI7hbzMP8AWccbGIPPTP1r6XLcS6NT2FV3vs/0PJxVJVI+0gvU8DM8OWj9iceoqbAyT3rPTTE+2m4ZnzkHGeK0K+hjfqebKy2Cu2+Ffh2bW7q9laQR2Sx+TNxksTggD6EA1zkGkskS3GpzCxgPKhhmR/8AdTr+Jrq/AfiuHQzfLaaef7Njh86Uu+ZXfIVeegySBisMRKTptU9yqaXMuYr+PPBt9p2tSXP2u3a2uneUTSuECknJU/nXO/ZdHt/+PjUpLlv7lrHx/wB9NW54t8ar4ju4xeaTEbKIHyk3ESKT1YN6nA49qxf7Ns7znSr0Fz/y73OEf8D0ailzqC9puOfLzPlG/wBo2EH/AB5aRDu7PcsZD+XSo7nWdTnXY126J/ciwi/pVS6t7i1l8q5heF/Rxj8vWoq2UY7md2B5YscknqTyaKKKoQd89D61sy/8Ty1aZR/xM4EzKo/5eUH8Q/2x39RzWNUlvNLbzpPBI0csbBkYdQRSkr7DTHWl3dWjbrW4lhP+w2B+VX/7YE/GpWFtef8ATQL5cn/fQpdRhivrVtWs4wjAj7ZAo/1bH+MD+6f0NZNSkpdA1RqfZ9Fuf9RezWT/ANy4Xcn/AH0On416h4J+H8en2P8AaEl+TqFxbOiMgzHFvXgj1IrxuvRvCnxC1WHRZdOa3hmmtLRmglYnJCYwCO+B/KufFQquFoM2oyhf3kcpe+GdTs7ya2mNshicoWaZQDg9fWoDpCof32rabH7CYsf0FULyeS8u5bq4bzJpnLuxHUk5NRV0JStqzFtdjU+w6Un+s1xW9ordj+tBj0BOt1qE3+7Gqj9ay6KfK+4X8jT87Qk+7YXsv+/OB/Kl/tDTU/1Whw/WSZmrLoo5EHMan9ssv+p0zTIvpBk/mTQ2v6p/BNHEPSOJR/SsuprO1uLycQWsLSyHsOw9SewocI9UHMyxJrGqyfe1C4/Bsfyqe1tL26h+1319LbWf/PaV2Jb2VerGnbdO0r73l6jej+Ef6iI+/wDfP6Vn315c30/nXUzSP0Geij0A6AVKV/hVh+ppJrR06Rf7BRrVlOTcPhppD7nsPYV0XiPxzry6t9kmmjktolQSxBAokJQFsn1yTj0ribWMzXUUK9ZHVR+JxVvxHIJvEGoSL903Mm36BiB+gqZUoOSuhqcktGa+oJpd9b/bzCwgY4a4t1AeFvSVOh/3h1rKudHuFiNxZul9bf8APSDkj/eXqKq6feXFjcedbuAcYZSMq691YdxWkIRMG1LQXkgmjG6a1Rvnj9WT+8vt2p2cOoXUjCl/1Tf7pqDSf+QfD/u1vtqFnfqU1a0+dhj7VbgK/wBSOjVBb6BcLaINNmTUo14/cjEg9Mp1zVc1nroFvd0I/Dmk/wBteI7PSbV7aG6u5AgklYKqDuzH0A5r7x+H8ngfwZ4TsvD2ma7pvlWyfO5nXdLIfvOeepNeS/s2/C+10LxFq0fijTre41SSxtZWSVQ32dXDnZz34Ga9svfDfgmyCfbNN0m33nC+aqLk+2a+WzfGQrzVLWy7dT2cFh3Tjz9WWZ/E/hO4heGfW9KkjcbWRplII9CKvaFb6RBYB9FhtI7WT5gbZQFb3461my+EPCpt2ddDsCNhIIiXnisv4IqqfDmwRRhVaUAeg3tXjSjD2blBvdHcm+bUbbH/AIvVef8AYIh/9CepfiBr2k2t7BpNz4ffXrsx/aBbpGrGNBn5ufoaitv+S1Xn/YJh/wDQnqh8Y9KmiW08RaZqE2n6j5sNg0kYzuikk2kEe24kVvGMZVYKXZEttRZ0MXi3RYvBK+IolZLFF2iJVwwbO3ywPXPFc78FNTaK0uPD2oWNxYaiJZb1Ypv44pZGZWH4MAa6CLwZpjeB18M7pfIYbzLn5/Mzu3/XdzTPCPg86Lqcuq32q3GqXzQi3SWUY2RDooAqOaj7OcV1en6frcdpcyZyF74rtv8AhaEeurYXb6NbwnTZb4D92Ji4/TPy/Wtn4z6rnRk8PWNnPf6nelJooYeojRwWY+3GPqRT5vhtbyai+3WLtNIluRdSacB8jSA7s5643c1reMPCQ1y9tdRs9Sn0zULZDEk8QzmM9VI+vP4Vp7Shzwa6f0r/AD3sTyys0X/B+tWuu6BDe2qyIFzFJHIMNHIvDKfcHIrA+EH/ACD9b/7DN1/6Naug8J6DbeHdFXT7eSSY72lllf70kjHLMfqcmuf+EH/IP1r/ALDN3/6NasXy8lTl2ui9bq4a/wD8lg8Of9g66/8AQoqb8ZNUEfhmbQLW1nvNT1WJo7aCLqfVj7Dj86dr/wDyWDw5/wBg66/9CirU8ZeFl1+WzvLfUJ9O1CzJ8i4iGSAeqkdwcD8quMoxlTcu36slptSSJfAetW+t+HYpYI5IZLc/Z54ZRh45FA3Kfzrlfh/rmjabrHiuHUNUs7WU6u52SyhTjA9a67wd4et/DelvaRzy3Ms0zTzzyfelkbGWP5U+88LeHby5e5udGs5ZpDl3aIEsfeo9pSUprWzKtKyM+61bwJd3kd5c3+hzXEf3JXdCy/Q1T8V+MvC/2SKxRbfxBPdPsisbcrIXPrjoAM9a1v8AhDfC/wD0ArH/AL8r/hWN4o8DeHfJhv7OSDQLu0ffFexBU2+x7EHFOm6DkrtianboavgPWdM1fSpF07TzpxtJTDNaMgUwuADjA9iKyPh7/wAjp4z/AOv+L/0SlbHgTQrPRdNme21BtRlvJjPPdlgfNcgDPHsBWP8AD3/kdPGf/X/F/wCiUp+7+85drfqg1924fEH/AJHLwb/1+y/+imruJHWNGkkYKqgliTwBXD/EL/kcfBv/AF+y/wDopq6Pxl/yKmrdv9Cm/wDQDUTV401/W7GnZy/roQzeL/C8UbvJr+nAICW/fr2/GuY8MeLfDtz4hgaDw3Jp39puy2moNEqrckZPUc8gE89am8D+EPDN74G0prnRbN3msY/MYxjcSUGTn1p+g/DuLTdUsp5tYu7yy052ewtJANsJII698AkCtbYeClG7v/Xb9SffdmO+KX/IS8J/9hlP/Rb12d5DbXFrJFdxxywMDvWRQVI9wa4v4pf8hLwn/wBhlP8A0XJXWa9/yBb7/r3k/wDQTWM/gp/P8yluzKsNc8G6ZCbWx1TR7SME5jjlRRn6CrH/AAlvhn/oP6b/AOBC/wCNcr8LfC3h688A6RcXOj2cs0lsjO7xgliQMkmt2Pw74Ilu2tI9O0l7hfvRKqFh9RV1IUlNptu3oKLlZElzqPgzW54ILi80e/l3DyUdkc59q3blVjspFjAVVjIAHQDFedfErw9oemQ6Bc6fpltbTjXLUCSNApwWORxXotz/AMeMv/XI/wAqipGKjFxbs+5UW7u5yXwX/wCSeaf9X/8AQjWXaeMvDMniOO+Tw46QzTi2j1gwrteQ8AZ68k4zWn8F/wDknmn/APA//QjXJxeF4bTx/Lokmo3J0CySLUYrM/dEzOcDPoCoOPet5Okp1ZVHZK5mubljY9G8TR6fdwx218A6pKsyjP8AEpyp/A81Uiz/AMu1rj/bk4/+vTjI0srSQ23zNyZH4pkuOlzdEn+5Hx/9eviMViZV536dD0IR5UJLtBxc3JY/3I+P5U6MSAYt7ZYl/vP1/KiLeB/o1ssY/vPxTZfLzi4uGlb+4nT9K5igk8rdied5m/uJ0/IU9PO2/uYUt09W6/lRH52MQwJAn95uv5VG/kFsSyvcv/dXp+QoAdFx/wAetr/wOTj/AOvRLtz/AKTdE/7EfH/16JeP+Pq6/wCAJx/9eli3D/j2tQg/vvx/9egAj34/0a2WMf3pOv8AjTZPKzi4uGlb+4n+Aok8vOLi5aRv7kf+Ap8fm4/cW6Qr/efr+VAAnnbcQwJAn95uv5VG3klsSSyXL/3V6fpQ/k7sTTPcP/cXp+QqVfP2/u447dPVuv5UAT2k1ypXGyCJVbajHgkjjPoKqCTU7aN1aO4tEdmKtGBOsZ8vjb/sZzwe4HrSH7OW+ZpLp/Qcj/Cr0V0wtJYry3DQbMKgPzH2r2Mvx/J+6qbdDCrTvqjw8+L/ABTfajcaPd6ZFe3DvJEY2ttqyRGQ5YMDgjcBg+rYPU12Fnp2i+FbpNfW0srZbtmtpLPyVwzySMZY0PqAoPuFx3qjrnjLwN4O8SXsMlnqAvdVUTsSvyRpLjkDsoZQeOhNdX4n8Kx+LPDNs15tiCSi7LRx4eQEK24d1fAx9RX11SaXLePLF/iebCO9ndouy+TeafHcWNsbi0Ks7T2yfPKjBirIQcEcg+uRS6Uyw3k0dkuoCBBHJJEVDtG7M+8HPbgcD0PtR4Rsz4dgl0BbtYYre2H2bzlABGSA/p6ZHqfek1+41uF7+68PpaSXcTwCWOTKo8QeQNyf4sEn8BXG93FbHR0uy5Z3d+kQWTTIrqJyGi8orGfkK/wnnI5I+nuKx/Gut6la6Pd3WmaWZb+3O61mvBtjZXYblYjlRhsevFdRaaYRbZWT7NMXLjyjuVDjbxnt0JHrTtSt7yaxurc7JVcko2cMAcn8wcAfSojOKknYpxbRlaBeStFDZagjSyvkMgdWQZkYqV5yRgcey1sWMUwUxG4Mexgxj3BmUbieT6GuPuptFjtLKK5tZTOiuF+wODIG8zbgjqPvgjsMnHFVo4tW1CWNdSvkto12GJ0ZlllTPyq5A67T19c1bp312JUrF3WPFVnpWtXUlnAmoR+QGbyJhsw2SWd24GCD07MfQ1T1H7Q2k/8ACSa5B/acNozyQQ2MqhApRSN4HDZIwc5xuzUsmiW93pU2j3thAukxRtKTbtt3vkg4YccEsfq2aJrvS/D+jrbwRXSfKEjs5GyzScFHIHVfVvVQK0XKrcq1Id+uxNpuvqNCS7tdOawN0pa2tZGDu5zuBCjoozj8falXS7+61dZtUNq11JFL5KRtlLT5QzCRfusSZD83XlaNI0m4SSK8n+z3N7AqLGYJtu2NQD5aL16h+vUHmtfUppLDSWnxHJOkbJ5rgLI7bwrnB6jCr+GKhtJ+71KSbWp8723wru/EXia8s7qKN47JvKEzzHy3DKvCP69x25NfQmlae2k6XBFZwxiDDsgUCRDl3YZxyQVI5HoBWXbxR6VdRxhZrKKRBHPMwzErJgxlc9F2q303V08F9avYL9nuHnSKYq32fGUwxG0gdBxitcVialZJPZEUaMYXtuVIp5ZXhuFlSS4giMgiOFeSEsAHJ6fwk8e3rUV9YaHqOft1pDJbrF9okZsN5Mh5yD1zgn8MVZvYRKE3sy27SbEYRbWiyWXbkdiSuPpWVcavpWloJNaMAe9O5ZpJFRZTjaVHTkKOneuaN38Jq/Mu2elySfdhCLIW3m4O5lYYU7fwUkHvurG1G/0vTS8161rYmzeZpZvMHARlcEA8lflIx2JHar2o3sLTXS20d1ewKWAWAsWWTcMlW/hGJGBHoOK5z4reFrzxtpS6RdKtpHvaVWij3MSIzGSD35kXg9lPpWtJJyXO7Iibai+VanSeHrnTJtNlvdLvY5bY+Yry+WjKHiBRlAH8XGfoK4/4v694jtdCjvvDtnDcPBdZbfCGLRfIdwUc8PhSO4OelP8Ah58OzoOg29k+oTNbXbm5UtKQRI65wRj157dxXU3emwaYIBDptwZSQwMbZEjKGBBI5UMAmfYAdqu9OnVuveRNpyhZ6HlHgbwheX3iNfF2rXWpLftF5zxwb4izgZUlTwBlcHHByK9UTTbzU9duJoJraERbjhwZGidyAwUngfNGxOOM496yviBfXfh3w3HqSwS3C/6m4PzYCuhKnrn5cYx6tWJ4P8a6df3VxDNaaqJZS0gljJPPnNjBH3gcLyOozWtR1ay9p0WhEVCm+Q63WtEuI3e8uLsHyJf3W+Ty96bRlFGcH5TJ8p7qPesDxpoOr6xoM9np+nxoyFfJQKqSqCc8+nU4zxkGuhe2huCJNSvrYoGaSFJZCwRUDc4PXHAx12lq47X/ABrq2nePrbR7HR5rm2mEf+kFWwjqqgpu/iGc8noazoqbl7u61LqcqWvU4/4JeH9EvNXvLp/D1/pt1br+5kaIhgWeQts425X5Djtg17Nc6kLmZ7W+hZJT81osO6IyL5bBgM/eI/u/Q1cmt31WCRnmu4xHmcLbqAkytyuP7xG3nPqa85+MWrahpNvaahpd5PGRPJshA3lDlW3/AFz0x1GauU3iq3n+RKiqMDtdR8SNoHhqe/kjkPlgzC2igdm2nLAJ9cgDPTpVafxBpM3he08W+RJHDLD9oa2X945ZiuY3A5yd44x8p5rC8Da54i1gJJrEccNjIXtIZkDB5QxPBB7gFSPeuut9LS1KtZg7wfMBEKYBV0GwgdD8vX/CspQjTdpblxk5K62G+HdTtPNmOnMZo54DOgkibfHJwPLz1Kgfyq+1lDHpE1jqWmrcw3UIR4HYOuG3Zh/3Fzwff2pLu3kh1IXy3ci3QVlkhQbsox+TBPQDGfxpv+keUqtIsEaKFXLbmwPc14+Px0aK5YfE/wADppU29z5M+NPwin8J6q2q6e0cHhyds75G3fZGz9w9z7V5x/aFnp/y6TBvm73c6gt/wFei/wA6+7dSsdM1SwnsLyzOowToY5VkGVYH618jfGv4Wah4Dv8A7dbI9xoVw/7mXqYCf+Wb/wBD3r6fhzP1jEsPiX762/vf8H8zyMwwLo/vKa0/I84nllnlaaaR5JG6sxyTWlN/onhuGLpJfTGZv+uaZVf/AB4t+VZ1vDJcXEcEQzJI4RR7k4FXfEU0cmqvFCcwWyrbxe6oMZ/E5P419e90jyVtczqKKKoRo2usXkMQt5tl3bf88pxuA+h6ipfJ0e+/495m06Y/8s5juiJ9m6j8ayaKnlXTQdy3f6deWOGuISIz92RTuRvow4qpVuw1G8sci3nZUP3o2+ZG+qnirfnaRff8fMDafMf+WsA3Rk+6dvwou1uFkzJorRutHu4oTcQbLy3/AOesB3AfUdRWdTTT2E1Ys6deTWN0txDgnBVkblXU9VI7g1Y1azhSNNQsdzWM5wAeTC/eNv6HuKzqvaTfCzkeOaMzWc42zxZ+8OxHow6g0muqGn0KNanhbnXbeE9Jw0B/4GpUfqRVfVbE2Uy7JPOtpV3wTAcSL/QjoR2NQ2UzW17Bcr96KRZB9Qc0P3o6AtGRYxx6UlXvEEK2+u30KfcW4fZ/uk5H6EVRqk7q4noFFFFABRVrT7C6vnYQINicySudqIPUmrv2qw0v5dPC3d2Ot1IvyIf9hT/M1Ll0Q0hkGlrDCt1q0xtIW5SMDM0v0XsPc0y81RngNpZRCzs+8aH5n93bqf5VSnmluJmmnkeWRjlmY5JqOhR6sL9goooqhGl4XUN4j0/cMqs6yH6Kdx/lWfIxeRnbksST9a0vDXy6hLN/zxtJ3z6fuyP61ljpUr4mPoFSW80tvOk8EjRyocqynBBqOlqhGwY7fWwWgVLfU/4ohwlx7r6N7d+1fQf7NnwtGkSW/jDxJp8j6gcNZWzjaLdf77f7R7DtWX+z38I2SS38WeKLF3kUiSwsXXAB6iSTP6D8a+iJTNjdcXCQr6L1/Ovz/iLiLlbwuFl6v9F+v3HvZfgNqtVei/UytAO74v8AiNh0NjZke/Elc78WrSS18VR6pqWjvrOnXUK2VpEsmPJuGyBx78c9sV3GmtBBeefBas7sArzHgkfXvjJrM+K7BtN0NlOQdbtf/QjXLl2YRxFSLW9rNf5HbVpOMWangmw1DTPA9lY6pIZLuK3IkOc49s98VmfBP/kndl/vy/8AobV2E3/Ho3/XM/yrj/gp/wAk7sv9+X/0Nq25nKlOT6tfqK1pJf10GW3/ACWq8/7BMP8A6E9TfGD/AJFi2/7Cln/6OSobb/ktV5/2CYf/AEJ6tfFm1vrrwqv2Czku5ob23n8qP7zKkiscfgK0T/fU/REv4ZHVQn/R4/8AdH8q8x8JxeNvE9hcaonjB7NPtk8SQpbIwVUkZRyfZa2o/HF8sSr/AMIZrmQoH3B6fWp/g/Z39l4P26hZyWc0t3cTeVJ95VeV2GfwIpKMqNOUmlfTs+47qUkit/wjPjf/AKHyb/wEjpf+EY8b/wDQ+Tf+AkdclqPj3xFDPd6xHfWgjtr8Wo0Xb++lXdtyO+T970xXYf8ACdXv/Qma7/3wP8a1lCvG2i+5Epwff8Rn/CMeN/8AofJv/ANK2PAPhuTwzpE1pNfvfzz3MlxLM6BSzOxJ4H1rL/4Tq9/6EzXf++BR/wAJ1e/9CZrv/fArOUa8o8rSt8ik4J3/AMyz4y8J32sa5p2s6Xrcul3dlFJEGWJXDK5Unr/uiqX/AAjHjf8A6Hyb/wAA0qT/AITq9/6EzXf++BR/wnV7/wBCZrv/AHwKIquko2WnoJ8l/wDhyP8A4Rjxv/0Pk3/gHHR/wjHjf/ofJ/8AwDjqT/hOr3/oTNd/74FH/CdXv/Qma7/3wKf7/svuiHuf1cj/AOEY8b/9D5N/4Bx1z/i3wn4u83T7vUNSm8Uafbzb7jT9ixFxxzx1x6V0n/CdXv8A0Jmu/wDfApP+E6vf+hM13/vgf41UJV4u/KvwE1Br/hx3wn0nUdL02/N5ZtYQXN2ZbWyZ9xgj2qMZ+oJ/Govh7/yOnjT/AK/4v/RKU/8A4Tq9/wChM13/AL4H+NR/C+PUJdY8S6te6Xc6fHfXiPDHOBuKiNVJ/MGpmp2nOel7fmhq10kL8Qv+Rx8G/wDX7L/6Kauv1ezXUNLu7FnKC4heIsO24EZ/WuQ+IX/I4+Df+v2X/wBFNVn4pa9qGi6fYRadNFayX12LdrqUZSAYJ3Ht2xz61HI5qnGO+v5sd0ua5nad4M8XadYQWNp45nS3gQRxqbRDhQMAflVr4e3mur4k8QaJrOq/2l9haHypTGEOHjDEYH1p/wAMdd1LVH1bT9Ruob86fcCNL2EYSYEZ7cZHTim+Ef8AkpnjD/etf/RK1pNzfPGdtF2XdCSWjQ34pf8AIS8J/wDYZT/0XJXV67/yBb7/AK95P/QTXKfFL/kJeE/+wyn/AKLkrq9d/wCQLff9e8n/AKCaxl8NP+upS3kc78KVZvhjpCo21jZKAfQ7RXnPhbR9R/4Sux0ZdKe31vS7pbjUtTMuRNE3T67tp47Yr0n4Q/8AJONE/wCvRP8A0EVV0H/krniT/rzs/wCUldCquE6tvP8AO36kON1ET4u/8eGg/wDYdtP/AEI12Nz/AMeMv/XI/wAq474vf8eOg/8AYdtP/QjXX3skcdg5kcIChGT6kVy1GlSg35mkfiZyHwemjt/hvYSTOFUb+T/vGtaaf7RcNNBaAs3G9xjj+dZfhawbR/D1ppMAa4FuD+9cbVZiSSQPxrQl4/4+rrb/ALEfH/16+czTHLEVZKn8N/vOijT5Yq+4kv8A09XX/AI+P/r0sW7H+jWoQf35P85oi4/49bXb/tycf/Xpsu3OLm6Ln+5Hx/KvKNgk8vP+kXLSN/cTp+Qp8fmgYt7dIU/vP1/Kkj8zGLe2WJf7z9fypr+Tu2zzvO39xen5CgBH8ndiaZ7h/wC6vT8hUieft/dxx26erdaE87biGGO3T1br+VRt5Bb55JLp/wC6vSgB8Wf+Xa125/jk4/8Ar02Tbn/Sbouf7if/AFqWXaD/AKTdEn+5HxSxbxxb2yxD+8/WgBY/Mx/o9usS/wB5+tMk8rdiad52/uJ0/IUSeXuxcXDTN/cTp+Qp6edtxDAkCerdfyoAE87biGGO3T1br+VRnyN2Hkkun/ujkf4UN5BbEksly/8AdXp+lSDz9vyJHbJ6nk0AKPtG35Vjtk9+T/hUX+jlv+Wl2/5gf0o/0ff1kupPTqP8KlP2jby0dtH+ZoAwvEXg7QvEV9DqOu2MTT264gZnOBwRhsdRhjx9K7jTlUWEcSReVEg8uMBs5QcKQfcYrnx5BbKRyXT/AN49Kn825SMGSSKJF+ZEzxuHTPt7V62FzOcUqdV3itvIxlRV3KK1HX6/6FbO0P2i3CNDLEP3gZBxgZ53HA59RRpc1v51zBFd+bE9pDKn2ls5ZzLyQfXaMj2q1aOt7Y3qfLAJmaNGLZDZXAIHb6VxdtqD32q3uh6bbreebHH9lnkYJGkILgMp6uc+Zlh3ODX0NO1SLcXocsnytHb3F3ZaYIVuL6C1UcvGf42bOMZ56g1h3mr65q0t1BotuttZ+QSt3cRkMc5wyA8Mpx3x1qXQdLLyRnxGj3mqR5RZZEBjYAZ3JjgDDHr3zXR3UZeIQrEjxsQrqTjC98Urxi+47No4b4Y6beWOmXC6hpkR1hJDJ5h5DI5VvvfUMR+FdPfm4mLS28bQypB+8cSj92wBYLg8HnHtiqt2DDf6ffR3EkTrCY5RNwz7mUJvHoMPz2OKyvEeuT6bHJBptub+7MEjNAZQYVHXcx7jbn8qt3qTv3JVoRsRT339jq2n2cRmvjIITpyZCNvGBKF6iPJOT7VJoGkvNO91epDdXVxlZ/NHlNHG6R/u0xwQFBz6tzTdF8HwjUjqE+oXp1tYfLa9YY3x7iRsB9+T2+bHeunjZyqSXLIl7CGOxcfPnIU49wvSnOaWkRRi3uczr9pNb6JPf6ZZMksTSMrO+19hUgqdvJ+ZieeRg1x/gfx4niTXF024kjbVwzulsULZi2qfvHgkeXtYDthu5rudaux5hsTb28M00kLYd9gcH7+45+QkM2PUjFU9G8HeC9P8Rpq1rpX/ABNpo5DHJuLDYODJ6DOB/wB9Y71rCcFB8616ESjJyXK9Op5d+0j8RPEnhsadpMmm2gluISzSFd8PXkAeuNvHbB7Gs79mXx3qBmvfD1raR3pW3M32x1KsQu4gSerYIH0Feq+M9F0/xhZrpmt2MNxBHILmbeArFiMKFY9AQfwwKzfBHhrQfCSM2kaPHHJE2yZgQFuMO3zHn5SuGx69K7I16H1T2XJ7xg6dT2/PzaHZ6pfaheRxwW08STSgfuQOY5EIcHd/tDauPyrA1XwVouuXE66ul1eLHKzCPzgQwDct3HQ5zwTyO1bULfabvz4ZJI7WAfOwHmDPlYKsRzkYHHcn2rc09bK0leNf3MyRhXBG0OAM7wO45PP1rzVN0/h0OvlUtylbRTJbWb74MCbNwkZwZMKNj+oIVVJXuM08wC8thNbKWtNh8jyJCjEMRuBz9DUzW8tzIZfJiMMueQ/YkjeP9rZj+VcV8X/EWr6B4Mtb/QbeeW7VzExEn/LMhgzjA+ZgVU4x3pU4OpNRW7HOSjFtnZfv59Jkhu4ftsFw2ITGCjGJhkbv7pHTPsKqxp52rWun3M0hFtCs0Eqy/MHV2Uhm/i3LjI9jXM/CbxofE3gr7Zq7RrdxSyYaaUKG2YKFu65HOD6Gr/8AaH9opNNaFUbzQ8c0Tb44yqgbeP8AblOSOvWqlSlCTi+glNSSaJ/GYsNR067srd/OafzI5oP9oKQTz0JB259CCKz9G0K30LR47O7eMx2L/LP5uJkRWD4OODywPuCM96j1HxRofhhbPTJ1f+0dTlWJgIjIWaU7Q2emB1KntXS+IZrJ4DDJGbj7WI1RCdv3jj5e+7ocH0FV78Uo9GTo231OK8Q+NvDFhpLzXmsWolnRVjK4IaVycSNH1UAggnPGT61o2Gt6R4j05JdPzJNZ/NO7K3zLJgMQ3clRzXM/8Kq8FahYLFq2kn7XYncZt5y0R4fcD12jr36Gu80jQrPSbVtJ0WOKLTWYeUC+QHP31IPJOMsPrWtR0Ix9y9/wIh7Rv3rWNFrCTi7s9SuGFvs3RzZKuUHzE9ySuBx3z61neIdPttTt4LW5t7SeF5kkMUrEYJTKqCB8o3YH0Jq1ptxeWlkzR2Usaz7pFWWTcFmY/cz/AAjIIwe7AVmfEKXXr3w3c/8ACPzW9veqDcwM+VfbGfnBHrjj8R6VzwT50rmsrcuxMYhJpT6ZbRrMo8u2QGQsQ0bMhyTyMMANw5pbBoz9rhvLC5madDGzEkEgdQ3vv34I7Y9ao+CE1Sz0Gyi1ycXmpw+ZvkiOSWMhOS3fIxketbrvdyZZ2SAdyTk15WPzKNJunSd33NqVLmSlIWR7qQbpGSBQMZJycVAvkFvlSS6f1PT/AAoH2fd8okun/Mf4VI3n7fnkjtk9B1r5xtyd2dYreftzJLHbp6L1/Oqd9ZadqVlNY3FiNQgnQpKswyrA/Wp18ktmKGS5f+83T8zUknnbczzpAvonX86IycXdbg1c+XPib8IrrwNfXHibSc3WjxRPJHEPmkt5D8qg+qgtnPoteJDp1z71+hgWFlKxWpnDDDNIPlIPUHPWvBfjH8CY7jz9c8H+TBdMS8umA4R/Ux+h9ulfoeRcUxnajjHZ9JdH6/5ng43LGvforTt/kfNtFTXtrc2N3JaXlvLb3ETbZIpFKsp9wahr7pNNXR4gUUUUAFFFFAEtrcT2soltpnhf+8hx/wDrrR/tK0vONVsgz/8APxb4ST8R0asmik4pjTaNVtHM6GTSrqO+QcmMfLKo91PX8KzHVo3McisjjqrDBFIrMrBlYqw6EHBFacesSSIIdSt47+IdDJxIv0cc/nS95eYaMbpV3C0LabqDEWkrbkkxkwSf3x7eo7iqmoWk1ldPa3CgOvcHIYHowPcGr40+xvedMvQkh/5d7o7W/BuhqdIZriFNG1ONre6TiymkGAf+mZPdT2PY/Wp5kncdroreJfnvYLn/AJ+LWGTPqdgU/qtZda+sRSjR9MkljdHiEttICv3WR84P4OKrafpk91Gbh2S2tFPz3EvCj2H94+wpxaUQabZSRWdwiKWZjgADJJrVGn22nqJNYc+ZjK2cTfOf98/wj9aG1K3sUMOjRsjEYe7kH71v90fwj9ayiSzFmJJJySTkk09ZeQtEXNQ1K4vEWHCQWyfct4hhF/xPuapUUVSSWwm7hRRRQAUUUUAamjfJYavN022gT/vqRRWXWpa/u/DF+/8Az1uYIh+Adj/IVN4Q8L654s1VdN0Oye4lJ+dzxHEPVm6AVlKpGmpTm7JdSlFysktTIgilnmSCCN5ZZGCoiLlmJ7AV9LfAr4NxaW0HiPxXafatQGHtrEjMcHoznoW9u1dd8IvhVoPgeFbySMaxrjL89yU+SH2jz0+vWvSX8/bmWaO3T0XrX57n3FLrp0MI7R6y6v07I9/A5YoWnV37BJ52MzTpAvovX86ZH5Wc29u8zf336fmaRPK3boYHnb++/T8zUkvmYzcXCxL/AHU6/nXxB7Aku/H+kXKxj+6nWqWqadDqtrb23lzBILuO6RycfOhyOvUVci2Z/wBGtmc/33/+vRNkf8fN1t/2I+P/AK9aUqs6M1ODs0KSUlZm80iSWb7GBwhz7cVyXwU/5J5Zf78v/obVpW8kkYK2luVVhhmc4zS+AdNh0HQotFF2s7RM7A9CQWJ6fjX0mDzCFWk4S0ldfPc5p02pJ9DCN3a2vxpu2urmGAHSYsGRwufmf1rsf7Z0n/oKWX/f9f8AGqWueFPD2t3i3mqabDczquwSMOcelUP+FeeDf+gLB+Z/xr0pSpTS5m7pWMkpLY3P7Y0j/oJ2X/f9f8aP7Z0n/oJ2X/f9f8aw/wDhXng3/oCwfmaP+FeeDv8AoCQfmam1Du/uX+Y7zLkOleFL7Wf7UhtdNuNQXnzk2s47Z4qPxd4usPDstvbS29zeXdwC0dvbJucqM5bHpxXM6boumaF8Yre30m1FrFLpLM6KThj5g5ra8c+GpdR1Cz1rT9aXSdQtozAs0ihkaNjkqQeOuD+FackOePM21b+u5N3Z2RpaF4s0HV9NS+g1CCIMSrRyyBXRh1VgehB4q9/bOkf9BOy/7/r/AI1yuhfDTwvbWGL21j1G6ldpp7lycyuxyzcdASTxV7/hXng3/oCwfmf8amccPzOzf3DTnY3P7Z0n/oJ2X/f9f8aP7Z0n/oJ2X/f9f8aw/wDhXng3/oCwfmf8aP8AhXng3/oCwfmf8am1Du/uX+Y/fNz+2dJ/6Cdl/wB/1/xo/tnSf+gnZf8Af9f8aw/+FeeDf+gLB+Z/xo/4V54N/wCgLB+Z/wAaLUO7+5f5h75uf2zpP/QTsv8Av+v+NH9s6T/0E7L/AL/r/jWH/wAK88G/9AWD8z/jR/wrzwb/ANAWD8z/AI0Wod39y/zD3zc/tnSf+gnZf9/l/wAaP7Z0n/oKWX/f9f8AGsP/AIV54N/6AsH5mj/hXng7/oCwfmaLUO7+5f5h75keOL6xuvGng5La8t52F7LkRyBiP3TeldL4+tLW88HatFdwRzRi0lYK4yAQpINRaX4J8L6bfxX9npEEVzFny5BklcjHFb1xFFcQSQTIHjkUq6noQeopzqxvDkvp/ncSi9b9TjvhjdaDYeBdIigurC3JtY2dRKoJYqMk89c5qDwRPBcfEjxfJbzRzIWtfmRgR/qR6Vo/8K88G4wNDtwPQZFaPhzRvD+iNPDotva27yEGZY2BYkdM1c6tN87je7/zuJRlpfoYHxS/5CXhP/sMp/6Leur13/kC33/XvJ/6Ca5T4pf8hLwn/wBhlP8A0W9dXrv/ACBL7/r3k/8AQTUy+Cn/AF1Gt5GB8If+ScaJ/wBeif8AoIqroP8AyVzxJ/152f8AKSrXwh/5Jxon/Xon/oIqCygnsfiJr2qzxhLWe3to4XY/fZQ+7H03CitVhSlVlN2Wv5oUU2o2/rQm+JtjPqFro6W+39zq0FxIWbG2NCSxq/PeSXRHlQM6j7pbhRUc1x9om81IDK3Zm4UfTNMl3gZubkRj+6nH/wBevlsZmE8RFU1pFHZCmou/UJd3/LzdBB/cj4/+vSRf9O1rj/bk4/8Ar0RYB/0a1JP9+Tj/AOvRLjP+k3X/AACPj/69ecaBLtB/0q6J/wBhOKWLfj/R7ZYx/efg0Rbh/wAe1qEH9+TimyeXnFxctI39xOB+QoAJPL3YuLhpW/uJ0/IU+PztuIYUgT1br+VEfm4xBbpCv95+v5VG/k7sSzPcN/dXp+QoAG8jdiSSS5f+6vT9KlHn7flSO2T1PJpF8/b+7jjtk9TyajP2ct8zSXT+g5H+FAD4twGLa1CD++/H/wBemy+XnFxcNIf7idP0ol2Z/wBIuWc/3E/wFPj8zGLe2WFf7z9fyoAI/N24gt0gX+8/X8qjfyc/vpnuG/uL0/IUSeTuxPO87/3E6fpUiedt/dxJbp6t1oAF8/ZiOOO2T1bk1GfILfM0l1J6Dp/hQ3kbvneS6f0HI/wqUfaNnAjtk9ep/wAKAD/SNv8Ayzto/wAz/hUQ+z7/AJVkun9TyB/SgfZy3Akun/Mf4VK3n7PneO2T0HJoARvP25kkjt09F61Gnk7t0ML3Df326fmaE8jdmKKS5f8AvN0/M1I/nbczTpAv91ev50ARX9ut1bNBqDxrA2MxqcZx79fyqG5t45GE1paoPIACoqbFaPLF0GOmdwPuQKsR+XnNvbtK399+n5mnS78f6TciMf3U4/8Ar11YbGVcO/denYidOMtzVOy40sSq7TuCzRFm8s7jkAZ7dcVlXnijR9Lu4oLq8McrubVVlmGNy7sE/wC9t6+4p8EzKgjt7cyRhg3737uQcg/mAa87+KHgi21R4dQsbJZdacMklwZcLgZMe5e7ZwN3qMmvoMDjsPXly1HynLWhOCvFXOm8Y6veT28lrp9qTrLxK6xoPvQbjkMT025ye5IxWvY6Va6fpaXMaxXkt1Ikhk2qrOjD5hk9sFvwrJ8AabrOn6Ip1NY7i+WUzyw/8tU3q6sN3Q/wkY9/atDTY7vbBY6pcLi2kIRmQeWYwu3ac9yrgZ716MrL3YvRfiZRu9WdBfRw3XyRRtI2GQvG+3bjB2E+hOBWNfiGO3+1TaX508NqBK8j8tCrMGCkHG4Zz/wKpoL24nm/0G/jwipFOptj/rNxG9cdiQwPpiqsqXFxeNpcdxEWbeSHjIQOMZK47FXzjpkH1rOKsW3cxNWstB8UTz2WrLFcmWQSRRSTMJVKn5Rx02sScdQMU/xl4jj+GfheFbpXvY8LDas4LH7p3KT1/hBz6sK4Px5onjVfiXaal4ejRYTGBPOhHLK5BLepGOvcDmvUtZW21GS6iv5LWWxXBQuwdXaRVVev3VyrgjvurqlGMeS7vHexhFt81lZ9xmgGe+8JwX10DDbXKxSfPgMikjIII+7j+E+pqSBkW/1ezmgWNJN7oCwwMBiHXI6nr7cUz+153tMC1njtp0aMB2D5yuSUx6ZAAPBwRXk/j/4g+INB8cx2lvpL39pdoqzS7Siyho4hwBkqcEfUMBU0aE60nGI51I00mz1fzo7Q74rmKezlhMt95bZVSSwLkLzknqR/cq5DqDXBS4upYY9jfJJ5X+sRlOSvXpn9Oa5zwX4bsLLTor0akXZ5GLRBf4GkYOjL6YcZ9CAa6TP9hutzFEW0jPlqiMrCIEKFZf8AZJ4x681lNRvZalxbtdk9uLyRhA/nGWMJLEXAUoCWDdODgcYp5to/s91JPcxu7IzxIzAm3YrlgpHOMqD+FQ2HjPw3e381jDqdv9ohjjdlLgff6KDnk9RjrkVh6F4Wvn1O91K7vpPss7MbWynGTCSR82RyeM4HbdU8rV+bQq/8uphXfg3R7ya/udLjEf2xi891IrZdGZiwQdPlIDZx0b3rS8OT6B4B8PWK3Fw1razXCqo8/eXkdNo4AyQSpwO1bV3qEc0NpHITb3MMEZieMEK0jrwFIGNp2sDnpxWT4g0zw1qV9NFqdol1ubzYty7vssiK53Lt6jPbsT7it1Uc/dnexnyqOsdzY8V6bZ6hDHNc2M10+fOgUxYKMGU9uegP4Zq54fSOVJ7pGhe6kyyLLGAyHJB9ypYZH1qhYapGii8tVury1XzXEbxlXhIXnLHrkg4+vtToNUuF+xvNpkyzxs6mVhtX7wXYcd/m69MqT0rBqVuU0TV7mjr6XMlqscarcXkcgkVVTpGSVYc8H5SRVlJLW/stsRSOSMJKQ6Y8tuvI7His6W51CbTNhvoIGcja6ktLjd8wOOOmcVHbPqrLKs80bxPuHzxhcgnuB3xx+dcdfFUqK9569uppGLk9EY/ijUPFVtqek2fhnS42guJria9kuHHlQ7WXaD3AbJYYrYb7G0hmaCNrmRNs3k5IYnqPpmkfyS2JZpLl/wC6vT9KlXz9vyJHbJ6nk14uKzKpXXLFcq/F+ptCiou7dwH2jb8qx2yep5NRfuC//LS7k/Mf4UH7Pu5Ml0/5j/Cpf9I28mO2T8z/AIV5psB8/Z8zR20foOTUS+RuzHHJcv8A3m5H5mhfILZRJLp/U9P8Kkfztv72WO3T0Xr+dAA/nbczTJAvovX86jj8rOYLd5m/vv0/WhPJ3Zhhed/779PzNSSeZjNxcLCv91Ov50AEnmY/0i5WIf3U4NMi2g/6Nalj/ffiiLZn/R7ZnP8Aff8A+vTpd3/LzdBf9iPj/wCvQBxvxL+HHhvxtblta2W+oBcRXdsoEiH3/vD2NfL/AMRvhV4q8GO9xNaPfaXn5L2BCRj/AGl6qa+0YuP+PW1x/tycf/Xptwsbo0V7OJVYYaJRww9CO9fQZVxFisvtC/NDs/0fT8jhxWX0q+uz7n55jnpRX1v8QPgV4a8TySXmiwnQL1sksg/dOfdO34V8++OPhf4w8JTP9t05ru1X/l6tP3iY9TjkV+iZdn+Cx6ShK0uz0f8AwfkeBiMBWobq67o4qigGivaOMKKmtbW6uji2t5pj/sISPzq8NDuoxuvJ7WyX/prKM/kM0nJLdjSbMuitTydDt/8AWXd1et6Qp5a/m3NA1S2h/wCPHSbWM9nmzK368Uubsgt5lG2tbm6O23tpZv8AcQkfnW9Yw6taRCG+uLNLU4zDeSBx+AGSD9Kyp9W1S7Ija6mIY4WOP5R9AFq9BD/ZM8caKtxrczBUX7wtieB9X5/Cond6MqNj3uKw0ubSVtzbQy2boAQ6g7hgDk+vT3rwrxXpetDUZvOiaa3jdhCIeVRM8YUdOMVW1/VLoXxtLW+uPs9qBEpWU4dl6v75bJrVttXbU7MzSLJJcQjdOkTbZcf89Yz/AOhKeO9clGhOj7173NqlSNTQ5DuR3HUUV0t7K8lv9qmgt9Zsu9wq7Jo/Z8dD+lZ/2XSLv/j0vntJD0iuh8v4OP612qfcwcTKoq9eaTqFqnmSW5aL/nrGd6fmKo1aaexLVgoop8EUtxMsNvFJNKxwqRqWY/gKAGU6JJJZViijaSRzhUQZZj6ACvUfAfwP8VeIWjn1Nf7HsjyTIu6Vh7L2/Gvoj4ffC/w14MjWXT7GM3mPmvbrEkv4dl/Cvncy4nwWCvGL55dl+rPQw+W1q2rVl5njXwz+Buq65oNvN4peTRrI3LTtCR++lXYoX/d/i6+tfQPhfw74e8M6cmm6BpipEnXaPvH1Zj1Nav8Ao5f/AJa3cnqeR/hUp8/b87x2yeg5NfnOZ51isxl+8do9lt/wT38PhKdBe6te4N5+395JHbp6L1/Ook8ndmGF7h/77dPzNCeRuzFHJcv/AHm6frUj+dtzPOkC+idfzryTqCTzcZnuEhX+6nX86ZF5ec29s0h/vv0/WiLy85t7d5W/vv0/M06XeB/pFysY/uJQAS7v+Xm6CD+5Hx/9eki4/wCPW1/4HJx/9eiLaD/o1qSf78nH/wBeiX/p5uv+AR8f/XoAJdv/AC83RP8AsR8f/XpYvMX/AI9rYRD++/B/LrRFuH/HtahB/ffj/wCvTZdmcXFy0jf3E/8ArUAVNdfXpBGNM8QxWkg++rWwlDf4VXTSviI67l8WWBH/AF5CtaPzcYt7dIV/vP1/KlinFvNv+0ySyf3U5H5V7GFzipSSjNJr0VzGdBS1Rlf2R8Rv+hrsf/AIVe+FusalrfhYXWrSRyXaXM8LvGu1W2SMoOPoK2bXUGkU/aIfKHYk9fr6Vz3whtbiz8LzQXUTRSfb7ptp9Gmcg/iCDXuU8XTxNFuNr6dLPqc7g4SRDd/8lqsv+wO//owVnfFrT7u51vTLq60y81TRI4nWa2tmO4TEna5A6jGR+NaN5/yWmy/7A7/+jBXT+Jdas/D+jT6rfeZ5EIG4RruY5OAAPqa6lOUJwcVd2Jsmnc8+8F6H8Q4dCVYtbi063MrtbWtxAJZIYSfkVmPcLgfhW1/Y/wARv+hrsf8AwCFUtc+KMNno1xeW/h/WvMVAY2mtSqAkgAsew5qTwT4o12bxPDoutT2F79qs/tcctn0ixjKt/wB9cH2rWarNObil8kSuTRXZZ/sf4jf9DXY/+AQo/sf4jf8AQ12P/gEK1fFnjDT/AA7f2dhcWt7dXN2jvFHaw7ztXGSf++hWZ/wsW1/6F3xD/wCAR/xrKPtpJSUFb0Q3yrqN/sf4jf8AQ12P/gEKP7H+I3/Q12P/AIBCnf8ACxbX/oXfEP8A4BH/ABo/4WLa/wDQu+If/AI/407Vv5F9yD3O/wCY3+x/iN/0Ndj/AOAQo/sf4jf9DXY/+AQp3/CxbX/oXfEP/gEf8ayNf+I15PdWGlaNp1zpt1ey7Bc6lB5cSAYz9Tz0qowrt25V9yE3BdTV/sj4jf8AQ12P/gEKm+HGq65d6hr2l67dQ3U2nXSRJLFHsDAordPxqb4b+IL/AFy0v4dS8h7rT7o27zQf6uXCg7h/31VL4e/8jp40/wCv+L/0SlRK/LOMkrrsvNFK100TfEfVtctL/QtM0K6gtZtRuHjeWWPeFCoW6fhUX9j/ABG/6Gux/wDAIUnxB/5HLwb/ANfsv/opq7LULqKxsZ7yckRQRtI+B2Ayalz5IQ5UtfLzC127s4m70b4ktayrH4qsd5Rgv+hgc44rkfBGi6tD4k0XytI1Gy1G2lkOsXkzkx3CkN0/vZJBHpXWn4oae9g17baDr00RjMiMLQ7WGMg5z0rP8KeMPFF7eaVf3iWc+lao7jy4B89oACQXP4AH3NdCdaFOXNFJfd0/rcj3W1Zmt8Uv+Ql4T/7DKf8Aot67DU4lnsJ4Gk2CWNk3emRiud8TQWetXemyKZ5Dp90LlPLGFZgpABPp81WZ5LqT57idIF9ByfzrwMVmtOEIxp6tfdudMKTu2zF8H6TqnhzRY9Mu9fFzbwqI4dsIQqo9+5rUTy92YYHnf++/T8zSR+TuzDC87f336fmakk8zb/pFwsK/3U6/nXhYnFVcTNzqPU6IQUFZCSeYBm4uViH91OtJFtz/AKNbFv8Apo9JHszm2tmkb++/H86dLuH/AB83QQf3I+P/AK9c5Qkv/TzdY/2I+P8A69EWf+XW1C/7b8f/AF6IuP8Aj1tcf7cn+c0S7f8Al5uix/uR8f8A16AEl2ZxcXLOf7kf/wBanx+ZjFvbrCv95+v5UkW/H+jWyxL/AHn4P5U2Tys4nuHmb+4nT8hQASeTnE07zt/cXp+Qp6edtxFElunq3X8qI/O2/uYUgT1br+VRt5BbEkkly/8AdXkfpQAN5BbDvJdP6Dp/hUv+kbeBHbR+/J/woH2jbhVjtk9Tyai/0ct/y0upPzH+FAD4hJjFvbLEP7z9abJ5WcXE7zN/cTp+Qok8vOLi4aRv7idPyFPj83GIIEgX+83X8qABPO24hhSBfVuv5VG3kFsSSSXL/wB1en6UP5O7Esz3D/3V6fkKlXz9v7uOO2T1PWgAH2jZ8qx20fqeT/hUX+jlv+Wl1J+Y/wAKP9HLctJdv6Dkf4VKftGz/lnbJ7cn/CgAP2jblmjtk9Op/wAKiXyC2Y45Ll/7zdP1oX7OWyiyXT+p5H+FSt52395LHbp6L1oAR/O25mmSBPRev50yPyt26CB5m/vv0/M0kfk7swwvcP8A336fmakk83Gbi4WFf7qdfzoASXzMZuLlYl/up1/Oki25zbWpY/35OP50kXl5/wBGtmkP99+P50su4f8AH1dBP9iPj/69ACy8f8fV1j/Yj4/+vSRZ/wCXa1Cj+/Jx/wDXoi9ba1x/tycf/Xol25/0q6Lf7Ccfy5oAcsnkzrLNc75FBUIg4wcZGPwFMsYnhuo2gh2WgUI8Ux3DaDnIB6Hp+VOi8zGLe2WMf3npsnlbsT3DzN/cTp+Qroo4utR+GWhMoRlujQum05o3W3hWSVnDskbbWz0LD3x+dcL8OfDuoeG01K8m1Sa6hv5ZzGphZhERwOpyPu9PautQTbcQwpAnq3X8qRJlilDfaZppR2Q8fkOK9SjnU4xcZRvcxlh02n2KOpG3Lx20cPmzyRq0DxjaHIB3Eg/ewDn8TWjolvZW0EEWnJBdWVyN/wA/38ggMxzxwTyOMGob2GS9ljuJkWFox8khPzD+lT3dxb3USQeW7FH8z9x8uW757c5NdSzahJJO6I9hJMu2s1wtvdJb2ocxTNsVmAVhk8Kex/xrz6a21mbx3EtnaRnRDEEtxj76jDEhjyGGe/BAArdS18Uf8JFLfzeIo4dJkdz9gS3VSoKEDEnqGO7PtWmksX9oRzwxzSbJWk+R/lGVwRz2PX610QzHDQ2mndeZEqU5dC6ryHN5AttPbiYriGPLGJgM59wcEjuBWD8RtDbWPAl/a6HM1vLcKGRkGRGwO4nHbGCPqa2LgwxT3U0cKRJdoqzfvCjEjILemcEcjniqVx5l6klr5lw9pJuLKh8sgk5+8OozmpjmFCMlJT2HKlJpqx8d+B/h74wu/FtulvHcW0Ucglku8E+WuGIcqevQ/QketfV3iRpLDTR/aFtdSBY3LzQbiBlUPm8cj5kUED+/nsa6Nri4SQTTXEER2bdgiBwcjOD15x0pjXLy3Pn20Uu4k8s2E5xng9vlH61043iKliJKUunYwoYB0otJ7nCf2brEmo6PfaPrUMFvFsm1RJP3geQbmkwM8c9McYI7V3H2SxltVaKW0hjaNELxqQWxvDDb+I+uPYVHNHHkG5eBOMBIowOMYx69OKdCMf8AHraBR/ffivKr53zfBE6oYa27Cx8/y2hmVjCsvmQYODHhzge4K4/M1Lczwm6NwzBZyu0+VnJHpUMuzOLm6Ln+4nH8qfH5mP8AR7ZYl/vP/hXmVswr1etvQ3jTigUzN/qYViB/ik6/lUb+TuxNM9w/9xen5CiTyt2Jp3nb+4nT8hUiedtxDFHbp6t1/KuIsVfP2Yjjjt09W6/lUR+zlvmaS6f0HT/ChvI3fvJJLmT+6OR/hUo+0bPlWO2j9+T/AIUAH+kbf+Wdsn5n/Coh9nLfKsl1IO55H+FA+zs3/LS7f8x/hUp+0bfmeO2T25NAA3n7cySR2yeg61EnklsxQyXD/wB9un60J5G7Mccly/8Aebp+ZqR/O2/vpkgT0Xr+dABJ5u3M9wkK/wB1Ov50yLy85t7dpG/vv0/Wkj8vOYLd5m/vv/8AXp8u8DNzcrGv91P8etABLu/5eboRj+5H/nNJF/062vP9+Tj/AOvRFt/5drUsf778US8f8fV1j/Yj4/8Ar0AEuB/x83RP+wnH/wBeli3AYtrYRj++/wDnNEW7/l2tQn+3Jx/9emy+XnFzctIT/An/ANagAk8vOLi4aVv7if4CnoJChSK3jhjPXeM5H0oj83GLe3SFf7z9fyqOTyd2Jpnnb+4nT8hQBw/jD4U+AvEjPJe6d5V8/wDy3sR5bZ+g4rzXxJ8A9WsUafwl/Zs6j7qX+fO/P7tfQ6eftxHFHbp6tyfyqI/Z92GeS6f0HI/wr2cHn+PwtlGd12eqOSrgqNXVx18j4l8U+GviHpRdNW0vUo4VOC1umYvzSuNf5XIkBV++7g/rX6In7QY8Yit4u4PJ/wAK5/VvCXhDV9wv/D9nqMjdXMIB/MYr6XC8bJK1al/4C/0f+Z51XJ7/AAT+8+DqfFHJNKsUSM8jnaqqMkmvr3VfgL8Pr1jJ9hm0tfS3uT/WsQ/s/wChQQTroWu6lHcS/KJ3iVti9wD2z69a9inxfl01q2n5r/K5ySyrELsz50d49DUxQMkuqEYklHK23+yvq3qe3ao9CJt0u9XcndbJtiJ6mZ8hfyG5vwr225/Zmuo13L4wtU9pLc/0pk37PGuTadbafaa/ZmON3klkaFgHc8A/QAAfnXSuIssa/jLXyf8AkR9QxP8AKfP9S2s81rcR3FvIY5YzuVh2Ne6/8M06vH/x8eLNOjHtCxNW7L9mmV2HneKCyd2S22/zq5cSZWl/FX3P/IlZdiX9n8jxdpHZG1rRz9nlT/j8t06Ln+IDuh9OxqEpp+rcw+Xp98esbHEMp/2T/CfbpX0poX7PnhXR7qO5uvEGp3Mq9UUKgYHqpA6g10elfBn4e2cnmQeGFnOch7yUsB+FedV4ty+n8DlL0X+djojlVeW9kfINmusWd6bazjvI7gHmKJSxP4DINd34c+H3jLxM6/avCO1G/wCXlj9nb647/lX1rZ6Ro2nKkcNrbRlAFRIIQCAO2Rz+taCGYr+5gWFf7z9fyrx8VxpOX8Gkk+7f+VvzOunlCXxyPAfDn7NlqJxNrutTPBwfJiUKfoW/wr1nwr4J8G+FUWPR9Jh84dZAu9z9WroX8ndiWaS4f+4vT8hUi+ftxHHHbJ6nk181jM5xuM0q1HbstF9yPQo4SjR+GIv+kFflWO3T1PJqL/Ry3/LS7f8AMD+lB+z7/maS6k9ByP8ACpT9o2/8s7aP8z/hXlnSB+0bfmaO2T25P+FRDyN37uOS5k9T0/XigeQW+VZLp/U9P8Kkfz9v7yWO3T0XrQAP523M0yW6ei9fzqOPyt2YYHmb++/T8zQnk7swwvcP/fbp+ZqSTzdv+kXCwr/dTr+dACSeZjNxcrEv91OtJFtHNtalif434/nSRbM5t7ZpG/vycfzp0u4D/SroIP7icf8A16AElyP+Pq62/wCxHx/9eiLI/wCPa1C/7cnH/wBeiL/p1tcf7cnH/wBekl2g/wCk3RJ/55x8f/XoAWXYP+Pm5Zz/AHE4/lSx+ZjFvbrEv95/8KIt4H+j2yxD+8/WmyeXuxcXDzN/cTp+QoASTyc4mnedv7idP0qRPO24hhjt09W6/lQnnbf3MKQJ6v1/Ko38gtiSSS5f+6vT9KABvILYeSS5f+6OR/hUyPdKMpstUHfqf8KQeftwiR2ye/JqL/R9/WS6k/Mf4U02ndAReRat4mg13dPcXkNsbbC/dKk5yffNN+JaS6p4Luba1iLTs8TCMkZwHUn9AauHz9vzGO2j/M/4VEvkFv3ccl0/949K9GhmuIpSi2727mUqMWmjUvZ9Ng8NvPqZi+xJbjzy4yu3AzmuX+G134He/uIPDli1ldugkKyxlXePsy5/hrXnSSSEx3TxRQsPmTAOR75qGKGzGoQX9tZ+ZdQRmKKbbt2ocZGfTgV30c5p8jjOLV+z0+4zlRd00Utf/wCSweHP+wddf+hRVu+KfEuk+HIoWv2kaSdtsMMSbpHPsKz7m0jl8RWWvX0irdWkMkMaKflKuVJz6n5RWf4t0661zUdP1XSZvseoWO5Y5ZY90ZVsEgqfoK7IZlhKjgpSskv8/Uh0pq9kdHpPiTRtT0F9btrlRZxg+a7jaYyOoYdiM1Q8M+NtB8QX5sbNpknKeZEs0WzzU/vL6jisjS/DtpZeD9U0PU74zzaq8st1NGNuXcDO1ew4ql4R8P6vD4gs9T16/hvE02F4bEQQeV8rDBL+p4H5Vr9awNpfvPT+rf5C5ammh0GtePPDmk6s+m3U0peIqs8iRbo4Cem89q1NZsNB8QaetvqMdrdQNh1BYcehB7VwniPwpc3GoaullrUFvp2suGvrd4N8p4w2xu2RTrj4d+GbjTXtLWwu7QmIotwbl96HGNwGeveh43ARUWqjT8k3/l+oclV30PQtF0nTtGsFs9LtY7a3ByFTufX3rlPh7/yOnjT/AK/4v/RKVt2d6tjYwWSy+a0MaoDjczYGMmqlnb/Z7q8urO3S0kvJBJcSMcl2AABx9AK4nm9GKmtXf/Mv2MnYp+PoZpPFvhGSON2SK7laRgOEHlHkntW34huLa+0m806GQvJcQPECi7gpYEZP51SdoWf95LLdP/dHI/wqQfaNmFWO2T8zXHVzmpJRUI2t8+tzRUEr3INEhutN8P2Wl74kS2t0hMjAEthQM46DpTbaGxgXy7WAy8k4RcKCf0qT/R93HmXUn5j/AAqRvtG35mjto/bk15tbE1azbnK5pGKjsDfaNv7ySO2T0XrUa+TuzDC9w/8Aebp+ZoXyCf3cUly/95un61JJ523M06QL6L1/OsCgkMuMzzpAv91ev50yPy92be3aVv77/wD16I/Kzm3t2mb++/T8zTpTIB/pNysQ/up1/OgAl3Y/0m6CD+4nH/16SLA/49bX/gcnH/16SLbnNtalj/fk4pZeP+Pq6x/sR8f/AF6ACXH/AC9XRP8AsR8f/XpYtwH+jWojH956It2P9GtQo/vycf8A16bIY84uLlpG/uR//WoAJPLzi4uGlP8AcT/AU+PzduIIEgX+8/X8qIvMx/o9ukK/3n6/lUb+TuxNM9w/9xen5CgAfyS2JZZLh/7q9P0qVfP24jjjt09TyaRPP2/u4o7dPVuv5VG32cthmkun9ByP8KAA/Zy/zNJdSeg5H+FSn7QV/wCWdsn5n/CgfaNvAjtk/M/4VEPs5b5Vkun9eo/woAkj8zH+j26wr/efr+VRv5OcTTPcN/cTp+QpZPK3YnuHmb+4nT8hT087b+5hS3T1br+VAAnn7cRxR26ercmo2+zlvmeS6f0HI/wobyC2JJJLp/7q9KlH2jb8qx2ye/JoAP8ASNnAjto/zP8AhUQ8hm4El1J6np/hR/o5b/lpdP8AmP8ACpT5+35mjtk9uTQAN5+3LyR2yeg61Enk7sxQyXLf3m6fmaF8gvmOOS5f+83T9akfztuZpkt09F6/nQASedj9/OkC+idfzpkfl5zb27St/ffp+tCeVn9xbtM399+n5mnS+Zj/AEi5WIf3U60AEu4D/SboRj+6nH/16SLAP+jWpz/fk4/+vSRbR/x7WpY/35OKdLx/x83WP9iPj/69ACS4B/0q6/4BHx/9eliDf8u1qIx/ffr/AI0RZH/Htahf9uTj/wCvTZdnS4uS5/uR/wD1qACTy84uLlpW/uJ/gKfH5u3EFukC/wB5+v5UR+ZjFvbrCv8Aefr+VRv5O799O87f3F6fkKAB/JziaaS4b+6vT8hUq+ftxHHHbJ6nk0i+dtxFDHbp6t1/Koz5Bb53kun9ByP8KAA/Zy3zNJdP6Dkf4VKftG3/AJZ20f5n/CgfaNvSO2j/ADNRD7OX4El0/qeR/hQADyC3yrJdOO56f4VK3n7cySx26ei9fzobz9vzyR2ye3JqJfJ3ZiikuX/vN0/M0ACeTuzDC9w/95un5mpJPNx+/uFhX+6nX86H87bmedIF/up1/OmR+XnNvbtK399+n5mgAj2Zzb2zSH++/H86dLuA/wBJugg/uJx/9eiXf/y83QjH9yPr/jSRY/5drUn/AG5OP/r0AEXH/Hra4/25OP8A69Eu0H/Sbok/3I+P5c0S8f8AHzdc/wByPj/69LFuA/0a1CD++/H/ANegAi3ji3tViH95+tNk8vOLi4aZv7idPyFEvl5xcXLSH+5H/wDWp8fm4xBbpAv95+v5UACedtxDAkC+r9fyqN/ILYllkuX/ALq9P0ofyd372Z7h/wC4vT8hUi+fs/dxx2yerdaABftBX5Ejtk9+TUZ+zl+sl3IPxA/pQfILfM0l0/oOR/hUv+kbf+WdtH+ZoAD9o2ctHbR/maiXyC3yRyXTjuelA+z7vlWS6f1PI/wqVvP25kkjt09ByaAEfztuZZkt09F6/nUaeTnMEDzt/fbp+ZoTyd2YYXuH/vP0/M1JJ5uP39wkK/3U6/nQASeZjNxcLCP7qdfzpkWzOba2Ln++/H86I/Lz/o9s0jf336fmadLuH/HzdBB/cj4/+vQAS5H/AB9XQUf3E4/+vRFx/wAetrt/25OP/r0kX/Tta/8AA5OP/r0S4H/HzdEn+5Hx/wDXoASXaD/pN0WP/POP/wCtT4vMxi3t1iX+8/X8qSLfj/RrZYx/efimy+XnFxcNK39xOn5CgAk8rOJ7h5m/uJ0/IU9PO24hhS3T1br+VEfnbcQwJAvq3X8qjbyN37yWS5f+6vT8hQAN5G7Ekkl0/oOn6VIPtBX5Vjtk9+TSr5+35I47ZPU8mov3BbkyXcn5j/CgA/0ct/y0un/Mf4VK3n7fmaO2T25NH+kbfmMdtH7cmol8jd8qSXT/AN48j8+lAAvkFv3cUly/95un61I/nbczTJAnovX86H8/bmWWO3T0XrUcfk5zDA87f336fmaAFj8rOYLd5m/vv0/M06TzAP8ASLlYh/dTrSyeZj/SLhYl/up1/OmR7M/6NbM5/vvx/OgAi25za2pY/wB+Tj+dLLwP9KusZ/gTj/69Eu4f8fN0FH9yPj/69EXH/Hta4H9+Tj/69ACxZA/0a12/7cnH/wBemybM4uLlnP8AcT/61LLtB/0m6LH+4nH8qWLzMf6PbLEv95+v5UALH5mMW9usK/3n6/lTH8ndiad53/uL0/IUknlZxPcPM39xOn5CpE87b+5hS3X1br+VAAvnbf3cUdunq3X8qjPkFsO8l0/oOn+FDeRu/eSSXL/3V5H5VKPP2/KkdtH6nk0AA+0FOBHbJ+ZqL/Ry/Akun9eo/wAKP3Bf/lpdSfmP8KlP2jblmjto/bk0AI3n7fnkjtk9uTUa+SWzFDJcv/ebp+tC+Ru/dxyXL/3m5H51I/nbczTJbr6L1/OgAk87GZ50gT+6nX86ZH5ec29u0rf336fmaSPyt2YLd5m/vv0/M0+XzAP9IuViH91OD+dABLv/AOXm6EY/uR/5zSRY/wCXa1J/25OKItoP+jWpY/334/nRL/083WP9iPj/AOvQAS8f8fV11/gTj/69LFu/5drUIP78nH/16It2P9GtQo/vycf/AF6bLs6XFyzn+4nH8qACTy84uLlpD/cTp+lPjEu3EFukC/3n6/lRH5mP9Ht1hX+8/X8qjk8nOJp3nb+4nT8hQAP5O7E0z3D/AN1en5CpF8/Z+7jjtk9W60J523EUMdunq3Wo28jd87yXT+g5H+FAAfILYZpLp/Qcj/Cpf9IK/wDLO2T8zR/pG3hY7aP35P8AhUX7gt8okupPzH+FAAPs5b5Vkun9TyP8Kkfz9v7yWO3T0XrSnz9uXeO2T0HJqJPI3ZjikuX/ALzdPzNAAnklswwvcN/ffp+ZqSTzcZnuEhX+6nX86JPO25mnSBfRev50yPy85t7d5m/vv0/M0AEXl5/0e2aQ/wB9+n5mnS7gP9Jugn+xH/nNEu/H+k3QjH91ODSRYB/0a1JP99+P/r0AEXH/AB62v/A5OP8A69Eu0cXV0Tn+BOKJf+nm6/4BHx/9eli3dLa1CD+/J/nNABFvxi2tRGP70nFNk8vOLi4eZv7idP0ol8vOLi4aRv7if4Cnx+bjEFukK/3n6/lQAR+dtxDAkC+rdfyqNvJ3YklkuX/ur0/IUP5O7E0z3D/3F6fkKkXz9v7uOO2T1PJoAUeft+RI7aP1PWoj9nLcmS7f9P8ACg/Z93zNJdP6Dkf4VL+/2f8ALO2j/M/4UAH+kbeTHbJ7cmol+zlspHJdP6nkUDyC3yrJdSep6f4VK3n7cySR26ei9aAEfztv72aO3T0XrUaeVu3QwPO399+n5mhPJ3Zihe4f++3T8zUknm4zPcJAv91Ov50AEvmYzcXKwr/dTr+dNi2Z/wBGtmc/334/nSReXnNvbNI399+n606Xd/y83QQf3E4/+vQAS7h/x83QX/Yj/wA5pIuP+PW1wP78nH/16Iuv+jWv/A5OP/r0S4z/AKTdE/7EfH/16ACXbnFzdFj/AHE4/lSx+Zj/AEe2WIf3n60Rb+ltbLGP78lNl8vOLi4eVv7idPyFACSeVnE9w87f3E6fkKkTztuIYUt19W6/lRH5u3EECQJ6t1/Ko38ndiWWS4f+6vT8hQAN5BbEkkly/wDdXp/hUo+0bPlWO2j9+TSL5+z5I47ZPfk1H/o+7kyXT+nUf4UAH7gt/wAtLqT8x/hUp+0bfmaO2T0HJoP2jZyY7aP8z/hUS+QW+RJLp/U9P8KAHXkn2RB5CIufaltohcRiSZnkPoTx+VFFADb6drbEcKooPtUkFukiiSUtI3+0ePyoooAgu7iSObyI9qL7DmrMVtFgSPmRsdXOaKKAKst1MbgQqQi5x8o5q2ltCg37d7YzlzmiigColxNPceUXKLn+DirfkRQozqgLDu3JoooAqW8st3KVkkZV9E4qzKkdrCXijXcO55oooAgtC95kzSNj+6pwKmuNtpDmGNFP0oooAjtVN0hed3b/AGQcClvJPsqhYERc+1FFAC20KzxiSZnkPoTx+VMvbh7ciOFUQH0FFFAEsNvHIqySlpGP945H5VBc3MiXAgj2ov8AsjmiigCzHbRYDuDI2OrnNVZLmZrgQhti/wCyOaKKALa28Mal9u9sZy/JqpHPNcTmNnKKOycUUUAWzDFbozpGCw7tyaq20kl3IVkkZV9E4oooAsTLHawl4o13DuRmoLTdd5aaR8f3QcCiigCW5YWkOYY0X8KZaJ9qTzJ3dv8AZzgUUUAF7KbVQsCIoPtT7eBZoxJMzSE9mPH5UUUAR3tw8DiKEKgPoKmhto3Akk3SN/tHNFFAFee4lE/kIQi+qjmrMdtEPnYGR8dXOaKKAKrXM0lx5O7YucfKMVbFvDEpcLubGctyaKKAKkM0tzMY2covonFWmiit42eONdw7nk0UUAVrWSS8ciWRgo7KcVPOEtIC8Mag+pGaKKAIrUNdgtNI5H90HAqS6YWkQ8lEX8KKKAG2sf2qPzJ3d/bOB+VJezNa7UhVFB9qKKAHwQJMgkmLSE9mPH5VFe3EkMgii2ovsKKKALEVtGwEkm6Rv9s5qrNcy/afs6kIn+yOaKKALSW0S/OV3vj7znJqr9omlufJ3bF/2eKKKALf2eGFC6puYDOW5NVIJpbqUo8hVfROKKKALTxx20LSRxruHc8mq1o8l4W82RgB2U4FFFAE9zttId0MaA+pFRWqm6UvM7sP7oOBRRQA+7k+yxDyURc+1FrELmMSTs7n0J4/KiigBl7O1sRHCqID6CpYLdJEWSUtIx/vHj8qKKAIby5kilEMe1F9hzViK1iOJJN0jernNFFAFWW5la48hWEaf7IwatrbwoN+3e+PvMcmiigCoLiaa48ktsX/AGOKt+RFBGXVAWHduTRRQBVtpZLuUrJIyr6JxVmSOO2hLxRruHc80UUAVrRnvM+dI2P7qnAqa6K2cG6GNAfcUUUAMtV+1Jvnd2/2c4FOvJPssYEKIufaiigAtoVuIxLMzufQnj8qZeTtbsI4VRAfQUUUATQ28bqskpaRj/eOR+VV7q5kjnEMe1F9hzRRQBZjtov9Y+ZG9XOaqtczPcmANsUH+EYNFFAFtbeGMF9u58febk1US4mnuDEzlF/2OKKKALTQxW8bOiAsO7cmq1rJJeSFZJGVfROKKKALEqpawl4o1DepGagtC14CZpGx/dU4FFFAEl2ws4d0EaA/Skto/tKeZO7v/s5wKKKAC9lNqgWFUXPtS20KzxiWZnkPoTx+VFFADL24eBxFCFRfYVNFbRsqySbpGP8AfOaKKAK9zcyrcCBMIvqo5q1Hawj52Bkb1c5oooAqfaJpJzDu2KD/AAcGra28MYLhAzY+83JoooAqRzy3FwYmcovonFWniit4meOMFh3bk0UUAVrZ5LtyJZGC+inAqecJawFoY0B9SKKKAIrTdeKWmkcj+6DgU+8cWcQ8hEXPtRRQAltH9oTzJ2d/9knj8qS+ma1ULCqKPpRRQA+3gSZBLMzyH0Y8flUV3cSQyiGIKi+w5oooAnitomCySbpGPdzmq89zKLjyUIRc4+Uc0UUAf//Z"/>
          <p:cNvSpPr>
            <a:spLocks noChangeAspect="1" noChangeArrowheads="1"/>
          </p:cNvSpPr>
          <p:nvPr/>
        </p:nvSpPr>
        <p:spPr bwMode="auto">
          <a:xfrm>
            <a:off x="212725" y="-144463"/>
            <a:ext cx="4399032" cy="439904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IE"/>
          </a:p>
        </p:txBody>
      </p:sp>
      <p:pic>
        <p:nvPicPr>
          <p:cNvPr id="16" name="Image 2" descr="Une image contenant dôme&#10;&#10;Description générée automatiquement">
            <a:extLst>
              <a:ext uri="{FF2B5EF4-FFF2-40B4-BE49-F238E27FC236}">
                <a16:creationId xmlns:a16="http://schemas.microsoft.com/office/drawing/2014/main" id="{58159691-CA13-974D-932D-02EF35FE96FF}"/>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30441" b="53784"/>
          <a:stretch/>
        </p:blipFill>
        <p:spPr>
          <a:xfrm>
            <a:off x="0" y="5527993"/>
            <a:ext cx="12192000" cy="1081819"/>
          </a:xfrm>
          <a:prstGeom prst="rect">
            <a:avLst/>
          </a:prstGeom>
        </p:spPr>
      </p:pic>
    </p:spTree>
    <p:extLst>
      <p:ext uri="{BB962C8B-B14F-4D97-AF65-F5344CB8AC3E}">
        <p14:creationId xmlns:p14="http://schemas.microsoft.com/office/powerpoint/2010/main" val="384429323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434D48E-EA31-493D-B4EA-4D6ECE9628B9}"/>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86" name="think-cell Slide" r:id="rId6" imgW="473" imgH="473" progId="TCLayout.ActiveDocument.1">
                  <p:embed/>
                </p:oleObj>
              </mc:Choice>
              <mc:Fallback>
                <p:oleObj name="think-cell Slide" r:id="rId6" imgW="473" imgH="473" progId="TCLayout.ActiveDocument.1">
                  <p:embed/>
                  <p:pic>
                    <p:nvPicPr>
                      <p:cNvPr id="3" name="Object 2" hidden="1">
                        <a:extLst>
                          <a:ext uri="{FF2B5EF4-FFF2-40B4-BE49-F238E27FC236}">
                            <a16:creationId xmlns:a16="http://schemas.microsoft.com/office/drawing/2014/main" id="{A434D48E-EA31-493D-B4EA-4D6ECE9628B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3" name="Rectangle 42" hidden="1">
            <a:extLst>
              <a:ext uri="{FF2B5EF4-FFF2-40B4-BE49-F238E27FC236}">
                <a16:creationId xmlns:a16="http://schemas.microsoft.com/office/drawing/2014/main" id="{29CFC374-FC29-4BB6-BE05-C8AAA7E57F86}"/>
              </a:ext>
            </a:extLst>
          </p:cNvPr>
          <p:cNvSpPr/>
          <p:nvPr>
            <p:custDataLst>
              <p:tags r:id="rId3"/>
            </p:custDataLst>
          </p:nvPr>
        </p:nvSpPr>
        <p:spPr>
          <a:xfrm>
            <a:off x="0" y="0"/>
            <a:ext cx="158750" cy="158750"/>
          </a:xfrm>
          <a:prstGeom prst="rect">
            <a:avLst/>
          </a:prstGeom>
          <a:solidFill>
            <a:srgbClr val="F4F4F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2400">
              <a:solidFill>
                <a:schemeClr val="tx1"/>
              </a:solidFill>
              <a:latin typeface="Arial Black" panose="020B0A04020102020204" pitchFamily="34" charset="0"/>
              <a:ea typeface="+mj-ea"/>
              <a:cs typeface="+mj-cs"/>
              <a:sym typeface="Arial Black" panose="020B0A04020102020204" pitchFamily="34" charset="0"/>
            </a:endParaRPr>
          </a:p>
        </p:txBody>
      </p:sp>
      <p:sp>
        <p:nvSpPr>
          <p:cNvPr id="2" name="Title 1">
            <a:extLst>
              <a:ext uri="{FF2B5EF4-FFF2-40B4-BE49-F238E27FC236}">
                <a16:creationId xmlns:a16="http://schemas.microsoft.com/office/drawing/2014/main" id="{B34DB32E-2FF2-4EE7-806C-654E29B217F1}"/>
              </a:ext>
            </a:extLst>
          </p:cNvPr>
          <p:cNvSpPr>
            <a:spLocks noGrp="1"/>
          </p:cNvSpPr>
          <p:nvPr>
            <p:ph type="title"/>
          </p:nvPr>
        </p:nvSpPr>
        <p:spPr/>
        <p:txBody>
          <a:bodyPr/>
          <a:lstStyle/>
          <a:p>
            <a:r>
              <a:rPr lang="en-US" dirty="0" smtClean="0"/>
              <a:t>Drivers for methodological innovation</a:t>
            </a:r>
            <a:endParaRPr lang="en-US" dirty="0"/>
          </a:p>
        </p:txBody>
      </p:sp>
      <p:sp>
        <p:nvSpPr>
          <p:cNvPr id="4" name="Rectangle 3">
            <a:extLst>
              <a:ext uri="{FF2B5EF4-FFF2-40B4-BE49-F238E27FC236}">
                <a16:creationId xmlns:a16="http://schemas.microsoft.com/office/drawing/2014/main" id="{6ED5DDCB-326D-4EAA-BC6C-80E61FA99D52}"/>
              </a:ext>
            </a:extLst>
          </p:cNvPr>
          <p:cNvSpPr/>
          <p:nvPr/>
        </p:nvSpPr>
        <p:spPr>
          <a:xfrm>
            <a:off x="9114842" y="1432900"/>
            <a:ext cx="2618371" cy="646331"/>
          </a:xfrm>
          <a:prstGeom prst="rect">
            <a:avLst/>
          </a:prstGeom>
        </p:spPr>
        <p:txBody>
          <a:bodyPr wrap="square">
            <a:spAutoFit/>
          </a:bodyPr>
          <a:lstStyle/>
          <a:p>
            <a:pPr lvl="1"/>
            <a:r>
              <a:rPr lang="en-IE" dirty="0" smtClean="0"/>
              <a:t>Measuring and maintaining quality</a:t>
            </a:r>
            <a:endParaRPr lang="en-IE" dirty="0"/>
          </a:p>
        </p:txBody>
      </p:sp>
      <p:sp>
        <p:nvSpPr>
          <p:cNvPr id="5" name="Rectangle 4">
            <a:extLst>
              <a:ext uri="{FF2B5EF4-FFF2-40B4-BE49-F238E27FC236}">
                <a16:creationId xmlns:a16="http://schemas.microsoft.com/office/drawing/2014/main" id="{8FCEC34C-9418-4B7B-825C-4193786B6C67}"/>
              </a:ext>
            </a:extLst>
          </p:cNvPr>
          <p:cNvSpPr/>
          <p:nvPr/>
        </p:nvSpPr>
        <p:spPr>
          <a:xfrm>
            <a:off x="9135248" y="2491613"/>
            <a:ext cx="2702317" cy="2031325"/>
          </a:xfrm>
          <a:prstGeom prst="rect">
            <a:avLst/>
          </a:prstGeom>
        </p:spPr>
        <p:txBody>
          <a:bodyPr wrap="square">
            <a:spAutoFit/>
          </a:bodyPr>
          <a:lstStyle/>
          <a:p>
            <a:pPr lvl="1"/>
            <a:r>
              <a:rPr lang="en-IE" dirty="0"/>
              <a:t>Leaner, more automated and more robust processes / more </a:t>
            </a:r>
            <a:r>
              <a:rPr lang="en-IE" dirty="0" err="1"/>
              <a:t>composable</a:t>
            </a:r>
            <a:r>
              <a:rPr lang="en-IE" dirty="0"/>
              <a:t> / more resilient to shock (</a:t>
            </a:r>
            <a:r>
              <a:rPr lang="en-IE" dirty="0" err="1"/>
              <a:t>pandemy</a:t>
            </a:r>
            <a:r>
              <a:rPr lang="en-IE" dirty="0" smtClean="0"/>
              <a:t>)</a:t>
            </a:r>
            <a:endParaRPr lang="en-IE" dirty="0"/>
          </a:p>
        </p:txBody>
      </p:sp>
      <p:sp>
        <p:nvSpPr>
          <p:cNvPr id="6" name="Rectangle 5">
            <a:extLst>
              <a:ext uri="{FF2B5EF4-FFF2-40B4-BE49-F238E27FC236}">
                <a16:creationId xmlns:a16="http://schemas.microsoft.com/office/drawing/2014/main" id="{6662B579-F033-4015-9210-E0B866E620BA}"/>
              </a:ext>
            </a:extLst>
          </p:cNvPr>
          <p:cNvSpPr/>
          <p:nvPr/>
        </p:nvSpPr>
        <p:spPr>
          <a:xfrm>
            <a:off x="9018500" y="4864338"/>
            <a:ext cx="2814300" cy="1200329"/>
          </a:xfrm>
          <a:prstGeom prst="rect">
            <a:avLst/>
          </a:prstGeom>
        </p:spPr>
        <p:txBody>
          <a:bodyPr wrap="square">
            <a:spAutoFit/>
          </a:bodyPr>
          <a:lstStyle/>
          <a:p>
            <a:pPr lvl="1"/>
            <a:r>
              <a:rPr lang="en-IE" dirty="0" smtClean="0"/>
              <a:t>Declining participation to traditional data collection mode</a:t>
            </a:r>
            <a:endParaRPr lang="en-IE" dirty="0"/>
          </a:p>
        </p:txBody>
      </p:sp>
      <p:sp>
        <p:nvSpPr>
          <p:cNvPr id="7" name="Rectangle 6">
            <a:extLst>
              <a:ext uri="{FF2B5EF4-FFF2-40B4-BE49-F238E27FC236}">
                <a16:creationId xmlns:a16="http://schemas.microsoft.com/office/drawing/2014/main" id="{BB7ED4C4-2170-4679-B98D-C0C761582160}"/>
              </a:ext>
            </a:extLst>
          </p:cNvPr>
          <p:cNvSpPr/>
          <p:nvPr/>
        </p:nvSpPr>
        <p:spPr>
          <a:xfrm>
            <a:off x="405377" y="5141338"/>
            <a:ext cx="3063379" cy="646331"/>
          </a:xfrm>
          <a:prstGeom prst="rect">
            <a:avLst/>
          </a:prstGeom>
        </p:spPr>
        <p:txBody>
          <a:bodyPr wrap="square">
            <a:spAutoFit/>
          </a:bodyPr>
          <a:lstStyle/>
          <a:p>
            <a:pPr lvl="1"/>
            <a:r>
              <a:rPr lang="en-IE" dirty="0"/>
              <a:t>Integration of </a:t>
            </a:r>
            <a:r>
              <a:rPr lang="en-IE" dirty="0" smtClean="0"/>
              <a:t>non-traditional </a:t>
            </a:r>
            <a:r>
              <a:rPr lang="en-IE" dirty="0"/>
              <a:t>data sources</a:t>
            </a:r>
          </a:p>
        </p:txBody>
      </p:sp>
      <p:sp>
        <p:nvSpPr>
          <p:cNvPr id="8" name="Rectangle 7">
            <a:extLst>
              <a:ext uri="{FF2B5EF4-FFF2-40B4-BE49-F238E27FC236}">
                <a16:creationId xmlns:a16="http://schemas.microsoft.com/office/drawing/2014/main" id="{199F506E-3355-43E7-8408-4805624C7E87}"/>
              </a:ext>
            </a:extLst>
          </p:cNvPr>
          <p:cNvSpPr/>
          <p:nvPr/>
        </p:nvSpPr>
        <p:spPr>
          <a:xfrm>
            <a:off x="125554" y="2607331"/>
            <a:ext cx="2879284" cy="1915909"/>
          </a:xfrm>
          <a:prstGeom prst="rect">
            <a:avLst/>
          </a:prstGeom>
        </p:spPr>
        <p:txBody>
          <a:bodyPr wrap="square">
            <a:spAutoFit/>
          </a:bodyPr>
          <a:lstStyle/>
          <a:p>
            <a:pPr lvl="1"/>
            <a:r>
              <a:rPr lang="en-US" dirty="0"/>
              <a:t>New personas </a:t>
            </a:r>
            <a:r>
              <a:rPr lang="en-US" dirty="0" smtClean="0"/>
              <a:t>for </a:t>
            </a:r>
            <a:r>
              <a:rPr lang="en-US" dirty="0"/>
              <a:t>data providers and data </a:t>
            </a:r>
            <a:r>
              <a:rPr lang="en-US" dirty="0" smtClean="0"/>
              <a:t>users</a:t>
            </a:r>
            <a:endParaRPr lang="en-US" dirty="0"/>
          </a:p>
          <a:p>
            <a:pPr lvl="1"/>
            <a:r>
              <a:rPr lang="en-IE" dirty="0"/>
              <a:t>Product innovation (adaptive, tailorable, inclusive)</a:t>
            </a:r>
          </a:p>
          <a:p>
            <a:endParaRPr lang="en-US" sz="1050" dirty="0"/>
          </a:p>
        </p:txBody>
      </p:sp>
      <p:sp>
        <p:nvSpPr>
          <p:cNvPr id="9" name="Rectangle 8">
            <a:extLst>
              <a:ext uri="{FF2B5EF4-FFF2-40B4-BE49-F238E27FC236}">
                <a16:creationId xmlns:a16="http://schemas.microsoft.com/office/drawing/2014/main" id="{46D3DF4B-AC39-43D7-9B86-529D9F3ADFA7}"/>
              </a:ext>
            </a:extLst>
          </p:cNvPr>
          <p:cNvSpPr/>
          <p:nvPr/>
        </p:nvSpPr>
        <p:spPr>
          <a:xfrm>
            <a:off x="405377" y="1432900"/>
            <a:ext cx="2815970" cy="807913"/>
          </a:xfrm>
          <a:prstGeom prst="rect">
            <a:avLst/>
          </a:prstGeom>
        </p:spPr>
        <p:txBody>
          <a:bodyPr wrap="square">
            <a:spAutoFit/>
          </a:bodyPr>
          <a:lstStyle/>
          <a:p>
            <a:pPr lvl="1"/>
            <a:r>
              <a:rPr lang="en-IE" dirty="0"/>
              <a:t>Faster and timelier delivery</a:t>
            </a:r>
          </a:p>
          <a:p>
            <a:endParaRPr lang="en-US" sz="1050" dirty="0"/>
          </a:p>
        </p:txBody>
      </p:sp>
      <p:sp>
        <p:nvSpPr>
          <p:cNvPr id="10" name="Oval 9">
            <a:extLst>
              <a:ext uri="{FF2B5EF4-FFF2-40B4-BE49-F238E27FC236}">
                <a16:creationId xmlns:a16="http://schemas.microsoft.com/office/drawing/2014/main" id="{6772E271-E09E-48E3-9A15-6EE45D2711D6}"/>
              </a:ext>
            </a:extLst>
          </p:cNvPr>
          <p:cNvSpPr/>
          <p:nvPr/>
        </p:nvSpPr>
        <p:spPr>
          <a:xfrm rot="1959990">
            <a:off x="3556211" y="1276314"/>
            <a:ext cx="5113576" cy="4962637"/>
          </a:xfrm>
          <a:prstGeom prst="ellipse">
            <a:avLst/>
          </a:prstGeom>
          <a:solidFill>
            <a:srgbClr val="FEC10D"/>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a:solidFill>
                <a:schemeClr val="tx1"/>
              </a:solidFill>
            </a:endParaRPr>
          </a:p>
        </p:txBody>
      </p:sp>
      <p:sp>
        <p:nvSpPr>
          <p:cNvPr id="11" name="Oval 10">
            <a:extLst>
              <a:ext uri="{FF2B5EF4-FFF2-40B4-BE49-F238E27FC236}">
                <a16:creationId xmlns:a16="http://schemas.microsoft.com/office/drawing/2014/main" id="{F75561E4-FE37-4203-86FD-4F6E7CA39C16}"/>
              </a:ext>
            </a:extLst>
          </p:cNvPr>
          <p:cNvSpPr/>
          <p:nvPr/>
        </p:nvSpPr>
        <p:spPr>
          <a:xfrm>
            <a:off x="3831347" y="1540868"/>
            <a:ext cx="4604262" cy="4420516"/>
          </a:xfrm>
          <a:prstGeom prst="ellipse">
            <a:avLst/>
          </a:prstGeom>
          <a:solidFill>
            <a:srgbClr val="002856"/>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a:p>
        </p:txBody>
      </p:sp>
      <p:sp>
        <p:nvSpPr>
          <p:cNvPr id="12" name="Hexagon 11">
            <a:extLst>
              <a:ext uri="{FF2B5EF4-FFF2-40B4-BE49-F238E27FC236}">
                <a16:creationId xmlns:a16="http://schemas.microsoft.com/office/drawing/2014/main" id="{C81C6B63-60E9-492C-BF2E-7593C61990A6}"/>
              </a:ext>
            </a:extLst>
          </p:cNvPr>
          <p:cNvSpPr/>
          <p:nvPr/>
        </p:nvSpPr>
        <p:spPr>
          <a:xfrm>
            <a:off x="5172899" y="2909989"/>
            <a:ext cx="1892132" cy="1651475"/>
          </a:xfrm>
          <a:prstGeom prst="hexag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800" b="1"/>
          </a:p>
        </p:txBody>
      </p:sp>
      <p:cxnSp>
        <p:nvCxnSpPr>
          <p:cNvPr id="13" name="Straight Connector 12">
            <a:extLst>
              <a:ext uri="{FF2B5EF4-FFF2-40B4-BE49-F238E27FC236}">
                <a16:creationId xmlns:a16="http://schemas.microsoft.com/office/drawing/2014/main" id="{84722574-0EA2-46AD-A8F6-DE1E2AE11DF6}"/>
              </a:ext>
            </a:extLst>
          </p:cNvPr>
          <p:cNvCxnSpPr>
            <a:cxnSpLocks/>
          </p:cNvCxnSpPr>
          <p:nvPr/>
        </p:nvCxnSpPr>
        <p:spPr>
          <a:xfrm flipH="1">
            <a:off x="4649775" y="1643758"/>
            <a:ext cx="2907050" cy="4237726"/>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EF53EAC-9121-4A5C-9ECB-3899DBD6759B}"/>
              </a:ext>
            </a:extLst>
          </p:cNvPr>
          <p:cNvCxnSpPr>
            <a:cxnSpLocks/>
          </p:cNvCxnSpPr>
          <p:nvPr/>
        </p:nvCxnSpPr>
        <p:spPr>
          <a:xfrm flipH="1" flipV="1">
            <a:off x="4650556" y="1644871"/>
            <a:ext cx="2682002" cy="3953450"/>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55D24DAA-7ACD-4FBC-83BF-68A256757386}"/>
              </a:ext>
            </a:extLst>
          </p:cNvPr>
          <p:cNvCxnSpPr>
            <a:cxnSpLocks/>
          </p:cNvCxnSpPr>
          <p:nvPr/>
        </p:nvCxnSpPr>
        <p:spPr>
          <a:xfrm flipH="1" flipV="1">
            <a:off x="3816833" y="3742899"/>
            <a:ext cx="4604262" cy="7703"/>
          </a:xfrm>
          <a:prstGeom prst="line">
            <a:avLst/>
          </a:prstGeom>
          <a:ln w="47625">
            <a:solidFill>
              <a:schemeClr val="bg1"/>
            </a:solidFill>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71143FE4-A63B-40E7-BDC1-0D2099C77344}"/>
              </a:ext>
            </a:extLst>
          </p:cNvPr>
          <p:cNvSpPr txBox="1"/>
          <p:nvPr/>
        </p:nvSpPr>
        <p:spPr>
          <a:xfrm>
            <a:off x="5617976" y="2418496"/>
            <a:ext cx="992334" cy="161583"/>
          </a:xfrm>
          <a:prstGeom prst="rect">
            <a:avLst/>
          </a:prstGeom>
          <a:noFill/>
        </p:spPr>
        <p:txBody>
          <a:bodyPr wrap="square" lIns="0" tIns="0" rIns="0" bIns="0" rtlCol="0">
            <a:spAutoFit/>
          </a:bodyPr>
          <a:lstStyle/>
          <a:p>
            <a:pPr algn="ctr"/>
            <a:r>
              <a:rPr lang="en-US" sz="1050" dirty="0" smtClean="0">
                <a:solidFill>
                  <a:schemeClr val="bg1"/>
                </a:solidFill>
              </a:rPr>
              <a:t>Quality</a:t>
            </a:r>
            <a:endParaRPr lang="en-US" sz="1050" dirty="0">
              <a:solidFill>
                <a:schemeClr val="bg1"/>
              </a:solidFill>
            </a:endParaRPr>
          </a:p>
        </p:txBody>
      </p:sp>
      <p:pic>
        <p:nvPicPr>
          <p:cNvPr id="17" name="Graphic 16">
            <a:extLst>
              <a:ext uri="{FF2B5EF4-FFF2-40B4-BE49-F238E27FC236}">
                <a16:creationId xmlns:a16="http://schemas.microsoft.com/office/drawing/2014/main" id="{C71A443F-6DC3-4E39-8624-1200D5343DE0}"/>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5611238" y="3046131"/>
            <a:ext cx="1063685" cy="1360225"/>
          </a:xfrm>
          <a:prstGeom prst="rect">
            <a:avLst/>
          </a:prstGeom>
        </p:spPr>
      </p:pic>
      <p:sp>
        <p:nvSpPr>
          <p:cNvPr id="18" name="TextBox 17">
            <a:extLst>
              <a:ext uri="{FF2B5EF4-FFF2-40B4-BE49-F238E27FC236}">
                <a16:creationId xmlns:a16="http://schemas.microsoft.com/office/drawing/2014/main" id="{60DC5F77-7D30-4AF3-8585-74E98E8B9F05}"/>
              </a:ext>
            </a:extLst>
          </p:cNvPr>
          <p:cNvSpPr txBox="1"/>
          <p:nvPr/>
        </p:nvSpPr>
        <p:spPr>
          <a:xfrm>
            <a:off x="7140806" y="3240869"/>
            <a:ext cx="1075166" cy="161583"/>
          </a:xfrm>
          <a:prstGeom prst="rect">
            <a:avLst/>
          </a:prstGeom>
          <a:noFill/>
        </p:spPr>
        <p:txBody>
          <a:bodyPr wrap="square" lIns="0" tIns="0" rIns="0" bIns="0" rtlCol="0">
            <a:spAutoFit/>
          </a:bodyPr>
          <a:lstStyle/>
          <a:p>
            <a:pPr algn="ctr"/>
            <a:r>
              <a:rPr lang="en-US" sz="1050" dirty="0" smtClean="0">
                <a:solidFill>
                  <a:schemeClr val="bg1"/>
                </a:solidFill>
              </a:rPr>
              <a:t>Processes</a:t>
            </a:r>
            <a:endParaRPr lang="en-US" sz="1050" dirty="0">
              <a:solidFill>
                <a:schemeClr val="bg1"/>
              </a:solidFill>
            </a:endParaRPr>
          </a:p>
        </p:txBody>
      </p:sp>
      <p:sp>
        <p:nvSpPr>
          <p:cNvPr id="19" name="TextBox 18">
            <a:extLst>
              <a:ext uri="{FF2B5EF4-FFF2-40B4-BE49-F238E27FC236}">
                <a16:creationId xmlns:a16="http://schemas.microsoft.com/office/drawing/2014/main" id="{7871B65D-1933-411A-8B2A-E8304C6E27CB}"/>
              </a:ext>
            </a:extLst>
          </p:cNvPr>
          <p:cNvSpPr txBox="1"/>
          <p:nvPr/>
        </p:nvSpPr>
        <p:spPr>
          <a:xfrm>
            <a:off x="7042252" y="4571250"/>
            <a:ext cx="815087" cy="335756"/>
          </a:xfrm>
          <a:prstGeom prst="rect">
            <a:avLst/>
          </a:prstGeom>
          <a:noFill/>
        </p:spPr>
        <p:txBody>
          <a:bodyPr wrap="square" lIns="0" tIns="0" rIns="0" bIns="0" rtlCol="0">
            <a:spAutoFit/>
          </a:bodyPr>
          <a:lstStyle/>
          <a:p>
            <a:pPr algn="ctr"/>
            <a:r>
              <a:rPr lang="en-US" sz="1050" dirty="0">
                <a:solidFill>
                  <a:schemeClr val="bg1"/>
                </a:solidFill>
              </a:rPr>
              <a:t>Culture and People</a:t>
            </a:r>
          </a:p>
        </p:txBody>
      </p:sp>
      <p:sp>
        <p:nvSpPr>
          <p:cNvPr id="20" name="TextBox 19">
            <a:extLst>
              <a:ext uri="{FF2B5EF4-FFF2-40B4-BE49-F238E27FC236}">
                <a16:creationId xmlns:a16="http://schemas.microsoft.com/office/drawing/2014/main" id="{2CAA420B-CA02-4406-B0FA-19DA62E2ABD5}"/>
              </a:ext>
            </a:extLst>
          </p:cNvPr>
          <p:cNvSpPr txBox="1"/>
          <p:nvPr/>
        </p:nvSpPr>
        <p:spPr>
          <a:xfrm>
            <a:off x="5349300" y="5377849"/>
            <a:ext cx="1448109" cy="161583"/>
          </a:xfrm>
          <a:prstGeom prst="rect">
            <a:avLst/>
          </a:prstGeom>
          <a:noFill/>
        </p:spPr>
        <p:txBody>
          <a:bodyPr wrap="square" lIns="0" tIns="0" rIns="0" bIns="0" rtlCol="0">
            <a:spAutoFit/>
          </a:bodyPr>
          <a:lstStyle/>
          <a:p>
            <a:pPr algn="ctr" fontAlgn="t"/>
            <a:r>
              <a:rPr lang="en-US" sz="1050" dirty="0" smtClean="0">
                <a:solidFill>
                  <a:schemeClr val="bg1"/>
                </a:solidFill>
              </a:rPr>
              <a:t>Data sources</a:t>
            </a:r>
            <a:endParaRPr lang="en-US" sz="1050" dirty="0">
              <a:solidFill>
                <a:schemeClr val="bg1"/>
              </a:solidFill>
            </a:endParaRPr>
          </a:p>
        </p:txBody>
      </p:sp>
      <p:sp>
        <p:nvSpPr>
          <p:cNvPr id="21" name="TextBox 20">
            <a:extLst>
              <a:ext uri="{FF2B5EF4-FFF2-40B4-BE49-F238E27FC236}">
                <a16:creationId xmlns:a16="http://schemas.microsoft.com/office/drawing/2014/main" id="{FF8EBD93-9BAE-44FC-BE1B-A30315D0F82B}"/>
              </a:ext>
            </a:extLst>
          </p:cNvPr>
          <p:cNvSpPr txBox="1"/>
          <p:nvPr/>
        </p:nvSpPr>
        <p:spPr>
          <a:xfrm>
            <a:off x="4200518" y="4663927"/>
            <a:ext cx="1051589" cy="323165"/>
          </a:xfrm>
          <a:prstGeom prst="rect">
            <a:avLst/>
          </a:prstGeom>
          <a:noFill/>
        </p:spPr>
        <p:txBody>
          <a:bodyPr wrap="square" lIns="0" tIns="0" rIns="0" bIns="0" rtlCol="0">
            <a:spAutoFit/>
          </a:bodyPr>
          <a:lstStyle/>
          <a:p>
            <a:pPr fontAlgn="t"/>
            <a:r>
              <a:rPr lang="en-US" sz="1050">
                <a:solidFill>
                  <a:schemeClr val="bg1"/>
                </a:solidFill>
              </a:rPr>
              <a:t>Partnerships and Open Innovation</a:t>
            </a:r>
          </a:p>
        </p:txBody>
      </p:sp>
      <p:sp>
        <p:nvSpPr>
          <p:cNvPr id="22" name="TextBox 21">
            <a:extLst>
              <a:ext uri="{FF2B5EF4-FFF2-40B4-BE49-F238E27FC236}">
                <a16:creationId xmlns:a16="http://schemas.microsoft.com/office/drawing/2014/main" id="{71C279DC-1C73-410A-BCB5-BFADEF462135}"/>
              </a:ext>
            </a:extLst>
          </p:cNvPr>
          <p:cNvSpPr txBox="1"/>
          <p:nvPr/>
        </p:nvSpPr>
        <p:spPr>
          <a:xfrm>
            <a:off x="4109277" y="3212099"/>
            <a:ext cx="989946" cy="323165"/>
          </a:xfrm>
          <a:prstGeom prst="rect">
            <a:avLst/>
          </a:prstGeom>
          <a:noFill/>
        </p:spPr>
        <p:txBody>
          <a:bodyPr wrap="square" lIns="0" tIns="0" rIns="0" bIns="0" rtlCol="0">
            <a:spAutoFit/>
          </a:bodyPr>
          <a:lstStyle/>
          <a:p>
            <a:pPr algn="ctr" fontAlgn="t"/>
            <a:r>
              <a:rPr lang="en-US" sz="1050" dirty="0" smtClean="0">
                <a:solidFill>
                  <a:schemeClr val="bg1"/>
                </a:solidFill>
              </a:rPr>
              <a:t>Faster and </a:t>
            </a:r>
            <a:r>
              <a:rPr lang="en-US" sz="1050" dirty="0" err="1" smtClean="0">
                <a:solidFill>
                  <a:schemeClr val="bg1"/>
                </a:solidFill>
              </a:rPr>
              <a:t>timiler</a:t>
            </a:r>
            <a:endParaRPr lang="en-US" sz="1050" dirty="0">
              <a:solidFill>
                <a:schemeClr val="bg1"/>
              </a:solidFill>
            </a:endParaRPr>
          </a:p>
        </p:txBody>
      </p:sp>
      <p:sp>
        <p:nvSpPr>
          <p:cNvPr id="23" name="Freeform: Shape 22">
            <a:extLst>
              <a:ext uri="{FF2B5EF4-FFF2-40B4-BE49-F238E27FC236}">
                <a16:creationId xmlns:a16="http://schemas.microsoft.com/office/drawing/2014/main" id="{D4F002CD-47A0-489A-924B-82B21CF54B1A}"/>
              </a:ext>
            </a:extLst>
          </p:cNvPr>
          <p:cNvSpPr/>
          <p:nvPr/>
        </p:nvSpPr>
        <p:spPr bwMode="gray">
          <a:xfrm>
            <a:off x="5844110" y="2033152"/>
            <a:ext cx="485876" cy="285750"/>
          </a:xfrm>
          <a:custGeom>
            <a:avLst/>
            <a:gdLst>
              <a:gd name="connsiteX0" fmla="*/ 273844 w 542925"/>
              <a:gd name="connsiteY0" fmla="*/ 7144 h 314325"/>
              <a:gd name="connsiteX1" fmla="*/ 7144 w 542925"/>
              <a:gd name="connsiteY1" fmla="*/ 159544 h 314325"/>
              <a:gd name="connsiteX2" fmla="*/ 273844 w 542925"/>
              <a:gd name="connsiteY2" fmla="*/ 311944 h 314325"/>
              <a:gd name="connsiteX3" fmla="*/ 540544 w 542925"/>
              <a:gd name="connsiteY3" fmla="*/ 159544 h 314325"/>
              <a:gd name="connsiteX4" fmla="*/ 273844 w 542925"/>
              <a:gd name="connsiteY4" fmla="*/ 7144 h 314325"/>
              <a:gd name="connsiteX5" fmla="*/ 273844 w 542925"/>
              <a:gd name="connsiteY5" fmla="*/ 273844 h 314325"/>
              <a:gd name="connsiteX6" fmla="*/ 51721 w 542925"/>
              <a:gd name="connsiteY6" fmla="*/ 159544 h 314325"/>
              <a:gd name="connsiteX7" fmla="*/ 273844 w 542925"/>
              <a:gd name="connsiteY7" fmla="*/ 45244 h 314325"/>
              <a:gd name="connsiteX8" fmla="*/ 495967 w 542925"/>
              <a:gd name="connsiteY8" fmla="*/ 159544 h 314325"/>
              <a:gd name="connsiteX9" fmla="*/ 273844 w 542925"/>
              <a:gd name="connsiteY9" fmla="*/ 273844 h 314325"/>
              <a:gd name="connsiteX10" fmla="*/ 273844 w 542925"/>
              <a:gd name="connsiteY10" fmla="*/ 59531 h 314325"/>
              <a:gd name="connsiteX11" fmla="*/ 173831 w 542925"/>
              <a:gd name="connsiteY11" fmla="*/ 159544 h 314325"/>
              <a:gd name="connsiteX12" fmla="*/ 273844 w 542925"/>
              <a:gd name="connsiteY12" fmla="*/ 259556 h 314325"/>
              <a:gd name="connsiteX13" fmla="*/ 373856 w 542925"/>
              <a:gd name="connsiteY13" fmla="*/ 159544 h 314325"/>
              <a:gd name="connsiteX14" fmla="*/ 273844 w 542925"/>
              <a:gd name="connsiteY14" fmla="*/ 59531 h 314325"/>
              <a:gd name="connsiteX15" fmla="*/ 273844 w 542925"/>
              <a:gd name="connsiteY15" fmla="*/ 221456 h 314325"/>
              <a:gd name="connsiteX16" fmla="*/ 211931 w 542925"/>
              <a:gd name="connsiteY16" fmla="*/ 159544 h 314325"/>
              <a:gd name="connsiteX17" fmla="*/ 273844 w 542925"/>
              <a:gd name="connsiteY17" fmla="*/ 97631 h 314325"/>
              <a:gd name="connsiteX18" fmla="*/ 335756 w 542925"/>
              <a:gd name="connsiteY18" fmla="*/ 159544 h 314325"/>
              <a:gd name="connsiteX19" fmla="*/ 273844 w 542925"/>
              <a:gd name="connsiteY19" fmla="*/ 221456 h 314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542925" h="314325">
                <a:moveTo>
                  <a:pt x="273844" y="7144"/>
                </a:moveTo>
                <a:cubicBezTo>
                  <a:pt x="83344" y="7144"/>
                  <a:pt x="7144" y="159544"/>
                  <a:pt x="7144" y="159544"/>
                </a:cubicBezTo>
                <a:cubicBezTo>
                  <a:pt x="7144" y="159544"/>
                  <a:pt x="83344" y="311944"/>
                  <a:pt x="273844" y="311944"/>
                </a:cubicBezTo>
                <a:cubicBezTo>
                  <a:pt x="464344" y="311944"/>
                  <a:pt x="540544" y="159544"/>
                  <a:pt x="540544" y="159544"/>
                </a:cubicBezTo>
                <a:cubicBezTo>
                  <a:pt x="540544" y="159544"/>
                  <a:pt x="464344" y="7144"/>
                  <a:pt x="273844" y="7144"/>
                </a:cubicBezTo>
                <a:close/>
                <a:moveTo>
                  <a:pt x="273844" y="273844"/>
                </a:moveTo>
                <a:cubicBezTo>
                  <a:pt x="144780" y="273844"/>
                  <a:pt x="76200" y="195167"/>
                  <a:pt x="51721" y="159544"/>
                </a:cubicBezTo>
                <a:cubicBezTo>
                  <a:pt x="76295" y="123825"/>
                  <a:pt x="144875" y="45244"/>
                  <a:pt x="273844" y="45244"/>
                </a:cubicBezTo>
                <a:cubicBezTo>
                  <a:pt x="402908" y="45244"/>
                  <a:pt x="471488" y="123920"/>
                  <a:pt x="495967" y="159544"/>
                </a:cubicBezTo>
                <a:cubicBezTo>
                  <a:pt x="471488" y="195263"/>
                  <a:pt x="402812" y="273844"/>
                  <a:pt x="273844" y="273844"/>
                </a:cubicBezTo>
                <a:close/>
                <a:moveTo>
                  <a:pt x="273844" y="59531"/>
                </a:moveTo>
                <a:cubicBezTo>
                  <a:pt x="218599" y="59531"/>
                  <a:pt x="173831" y="104299"/>
                  <a:pt x="173831" y="159544"/>
                </a:cubicBezTo>
                <a:cubicBezTo>
                  <a:pt x="173831" y="214789"/>
                  <a:pt x="218599" y="259556"/>
                  <a:pt x="273844" y="259556"/>
                </a:cubicBezTo>
                <a:cubicBezTo>
                  <a:pt x="329089" y="259556"/>
                  <a:pt x="373856" y="214789"/>
                  <a:pt x="373856" y="159544"/>
                </a:cubicBezTo>
                <a:cubicBezTo>
                  <a:pt x="373856" y="104299"/>
                  <a:pt x="329089" y="59531"/>
                  <a:pt x="273844" y="59531"/>
                </a:cubicBezTo>
                <a:close/>
                <a:moveTo>
                  <a:pt x="273844" y="221456"/>
                </a:moveTo>
                <a:cubicBezTo>
                  <a:pt x="239744" y="221456"/>
                  <a:pt x="211931" y="193643"/>
                  <a:pt x="211931" y="159544"/>
                </a:cubicBezTo>
                <a:cubicBezTo>
                  <a:pt x="211931" y="125444"/>
                  <a:pt x="239744" y="97631"/>
                  <a:pt x="273844" y="97631"/>
                </a:cubicBezTo>
                <a:cubicBezTo>
                  <a:pt x="307943" y="97631"/>
                  <a:pt x="335756" y="125444"/>
                  <a:pt x="335756" y="159544"/>
                </a:cubicBezTo>
                <a:cubicBezTo>
                  <a:pt x="335756" y="193643"/>
                  <a:pt x="308039" y="221456"/>
                  <a:pt x="273844" y="221456"/>
                </a:cubicBezTo>
                <a:close/>
              </a:path>
            </a:pathLst>
          </a:custGeom>
          <a:solidFill>
            <a:schemeClr val="bg1"/>
          </a:solidFill>
          <a:ln w="9525" cap="flat">
            <a:noFill/>
            <a:prstDash val="solid"/>
            <a:miter/>
          </a:ln>
        </p:spPr>
        <p:txBody>
          <a:bodyPr rtlCol="0" anchor="ctr"/>
          <a:lstStyle/>
          <a:p>
            <a:endParaRPr lang="en-US" sz="1400"/>
          </a:p>
        </p:txBody>
      </p:sp>
      <p:sp>
        <p:nvSpPr>
          <p:cNvPr id="33" name="TextBox 32">
            <a:extLst>
              <a:ext uri="{FF2B5EF4-FFF2-40B4-BE49-F238E27FC236}">
                <a16:creationId xmlns:a16="http://schemas.microsoft.com/office/drawing/2014/main" id="{4BD8B715-8582-42B9-8356-06138117EFE6}"/>
              </a:ext>
            </a:extLst>
          </p:cNvPr>
          <p:cNvSpPr txBox="1"/>
          <p:nvPr/>
        </p:nvSpPr>
        <p:spPr>
          <a:xfrm rot="15988009">
            <a:off x="3610386" y="2464110"/>
            <a:ext cx="2797196" cy="2644166"/>
          </a:xfrm>
          <a:prstGeom prst="rect">
            <a:avLst/>
          </a:prstGeom>
          <a:noFill/>
        </p:spPr>
        <p:txBody>
          <a:bodyPr vert="horz" wrap="square" lIns="0" tIns="0" rIns="0" bIns="0" rtlCol="0">
            <a:prstTxWarp prst="textArchUp">
              <a:avLst>
                <a:gd name="adj" fmla="val 13406812"/>
              </a:avLst>
            </a:prstTxWarp>
            <a:spAutoFit/>
          </a:bodyPr>
          <a:lstStyle/>
          <a:p>
            <a:pPr algn="ctr"/>
            <a:r>
              <a:rPr lang="en-US" sz="1200" b="1" dirty="0" err="1" smtClean="0"/>
              <a:t>Ouput</a:t>
            </a:r>
            <a:endParaRPr lang="en-US" sz="1200" b="1" dirty="0"/>
          </a:p>
        </p:txBody>
      </p:sp>
      <p:sp>
        <p:nvSpPr>
          <p:cNvPr id="24" name="Freeform: Shape 23">
            <a:extLst>
              <a:ext uri="{FF2B5EF4-FFF2-40B4-BE49-F238E27FC236}">
                <a16:creationId xmlns:a16="http://schemas.microsoft.com/office/drawing/2014/main" id="{8BF9B523-F650-4B4B-8E06-D920EFF8E2A4}"/>
              </a:ext>
            </a:extLst>
          </p:cNvPr>
          <p:cNvSpPr/>
          <p:nvPr/>
        </p:nvSpPr>
        <p:spPr bwMode="gray">
          <a:xfrm>
            <a:off x="7397146" y="2678939"/>
            <a:ext cx="434731" cy="476250"/>
          </a:xfrm>
          <a:custGeom>
            <a:avLst/>
            <a:gdLst>
              <a:gd name="connsiteX0" fmla="*/ 407194 w 485775"/>
              <a:gd name="connsiteY0" fmla="*/ 411194 h 523875"/>
              <a:gd name="connsiteX1" fmla="*/ 292894 w 485775"/>
              <a:gd name="connsiteY1" fmla="*/ 525494 h 523875"/>
              <a:gd name="connsiteX2" fmla="*/ 26194 w 485775"/>
              <a:gd name="connsiteY2" fmla="*/ 525494 h 523875"/>
              <a:gd name="connsiteX3" fmla="*/ 26194 w 485775"/>
              <a:gd name="connsiteY3" fmla="*/ 487394 h 523875"/>
              <a:gd name="connsiteX4" fmla="*/ 292894 w 485775"/>
              <a:gd name="connsiteY4" fmla="*/ 487394 h 523875"/>
              <a:gd name="connsiteX5" fmla="*/ 369094 w 485775"/>
              <a:gd name="connsiteY5" fmla="*/ 411194 h 523875"/>
              <a:gd name="connsiteX6" fmla="*/ 292894 w 485775"/>
              <a:gd name="connsiteY6" fmla="*/ 334994 h 523875"/>
              <a:gd name="connsiteX7" fmla="*/ 121444 w 485775"/>
              <a:gd name="connsiteY7" fmla="*/ 334994 h 523875"/>
              <a:gd name="connsiteX8" fmla="*/ 7144 w 485775"/>
              <a:gd name="connsiteY8" fmla="*/ 220694 h 523875"/>
              <a:gd name="connsiteX9" fmla="*/ 121444 w 485775"/>
              <a:gd name="connsiteY9" fmla="*/ 106394 h 523875"/>
              <a:gd name="connsiteX10" fmla="*/ 408813 w 485775"/>
              <a:gd name="connsiteY10" fmla="*/ 106394 h 523875"/>
              <a:gd name="connsiteX11" fmla="*/ 336518 w 485775"/>
              <a:gd name="connsiteY11" fmla="*/ 34100 h 523875"/>
              <a:gd name="connsiteX12" fmla="*/ 363474 w 485775"/>
              <a:gd name="connsiteY12" fmla="*/ 7144 h 523875"/>
              <a:gd name="connsiteX13" fmla="*/ 481679 w 485775"/>
              <a:gd name="connsiteY13" fmla="*/ 125349 h 523875"/>
              <a:gd name="connsiteX14" fmla="*/ 363474 w 485775"/>
              <a:gd name="connsiteY14" fmla="*/ 243650 h 523875"/>
              <a:gd name="connsiteX15" fmla="*/ 336518 w 485775"/>
              <a:gd name="connsiteY15" fmla="*/ 216694 h 523875"/>
              <a:gd name="connsiteX16" fmla="*/ 408813 w 485775"/>
              <a:gd name="connsiteY16" fmla="*/ 144399 h 523875"/>
              <a:gd name="connsiteX17" fmla="*/ 121444 w 485775"/>
              <a:gd name="connsiteY17" fmla="*/ 144399 h 523875"/>
              <a:gd name="connsiteX18" fmla="*/ 45244 w 485775"/>
              <a:gd name="connsiteY18" fmla="*/ 220599 h 523875"/>
              <a:gd name="connsiteX19" fmla="*/ 121444 w 485775"/>
              <a:gd name="connsiteY19" fmla="*/ 296799 h 523875"/>
              <a:gd name="connsiteX20" fmla="*/ 292894 w 485775"/>
              <a:gd name="connsiteY20" fmla="*/ 296799 h 523875"/>
              <a:gd name="connsiteX21" fmla="*/ 407194 w 485775"/>
              <a:gd name="connsiteY21" fmla="*/ 411194 h 523875"/>
              <a:gd name="connsiteX22" fmla="*/ 83344 w 485775"/>
              <a:gd name="connsiteY22" fmla="*/ 220694 h 523875"/>
              <a:gd name="connsiteX23" fmla="*/ 121444 w 485775"/>
              <a:gd name="connsiteY23" fmla="*/ 258794 h 523875"/>
              <a:gd name="connsiteX24" fmla="*/ 159544 w 485775"/>
              <a:gd name="connsiteY24" fmla="*/ 220694 h 523875"/>
              <a:gd name="connsiteX25" fmla="*/ 121444 w 485775"/>
              <a:gd name="connsiteY25" fmla="*/ 182594 h 523875"/>
              <a:gd name="connsiteX26" fmla="*/ 83344 w 485775"/>
              <a:gd name="connsiteY26" fmla="*/ 220694 h 523875"/>
              <a:gd name="connsiteX27" fmla="*/ 330994 w 485775"/>
              <a:gd name="connsiteY27" fmla="*/ 411194 h 523875"/>
              <a:gd name="connsiteX28" fmla="*/ 292894 w 485775"/>
              <a:gd name="connsiteY28" fmla="*/ 373094 h 523875"/>
              <a:gd name="connsiteX29" fmla="*/ 254794 w 485775"/>
              <a:gd name="connsiteY29" fmla="*/ 411194 h 523875"/>
              <a:gd name="connsiteX30" fmla="*/ 292894 w 485775"/>
              <a:gd name="connsiteY30" fmla="*/ 449294 h 523875"/>
              <a:gd name="connsiteX31" fmla="*/ 330994 w 485775"/>
              <a:gd name="connsiteY31" fmla="*/ 411194 h 523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485775" h="523875">
                <a:moveTo>
                  <a:pt x="407194" y="411194"/>
                </a:moveTo>
                <a:cubicBezTo>
                  <a:pt x="407194" y="474250"/>
                  <a:pt x="355949" y="525494"/>
                  <a:pt x="292894" y="525494"/>
                </a:cubicBezTo>
                <a:lnTo>
                  <a:pt x="26194" y="525494"/>
                </a:lnTo>
                <a:lnTo>
                  <a:pt x="26194" y="487394"/>
                </a:lnTo>
                <a:lnTo>
                  <a:pt x="292894" y="487394"/>
                </a:lnTo>
                <a:cubicBezTo>
                  <a:pt x="334899" y="487394"/>
                  <a:pt x="369094" y="453200"/>
                  <a:pt x="369094" y="411194"/>
                </a:cubicBezTo>
                <a:cubicBezTo>
                  <a:pt x="369094" y="369189"/>
                  <a:pt x="334899" y="334994"/>
                  <a:pt x="292894" y="334994"/>
                </a:cubicBezTo>
                <a:lnTo>
                  <a:pt x="121444" y="334994"/>
                </a:lnTo>
                <a:cubicBezTo>
                  <a:pt x="58388" y="334994"/>
                  <a:pt x="7144" y="283750"/>
                  <a:pt x="7144" y="220694"/>
                </a:cubicBezTo>
                <a:cubicBezTo>
                  <a:pt x="7144" y="157639"/>
                  <a:pt x="58388" y="106394"/>
                  <a:pt x="121444" y="106394"/>
                </a:cubicBezTo>
                <a:lnTo>
                  <a:pt x="408813" y="106394"/>
                </a:lnTo>
                <a:lnTo>
                  <a:pt x="336518" y="34100"/>
                </a:lnTo>
                <a:lnTo>
                  <a:pt x="363474" y="7144"/>
                </a:lnTo>
                <a:lnTo>
                  <a:pt x="481679" y="125349"/>
                </a:lnTo>
                <a:lnTo>
                  <a:pt x="363474" y="243650"/>
                </a:lnTo>
                <a:lnTo>
                  <a:pt x="336518" y="216694"/>
                </a:lnTo>
                <a:lnTo>
                  <a:pt x="408813" y="144399"/>
                </a:lnTo>
                <a:lnTo>
                  <a:pt x="121444" y="144399"/>
                </a:lnTo>
                <a:cubicBezTo>
                  <a:pt x="79438" y="144399"/>
                  <a:pt x="45244" y="178594"/>
                  <a:pt x="45244" y="220599"/>
                </a:cubicBezTo>
                <a:cubicBezTo>
                  <a:pt x="45244" y="262604"/>
                  <a:pt x="79438" y="296799"/>
                  <a:pt x="121444" y="296799"/>
                </a:cubicBezTo>
                <a:lnTo>
                  <a:pt x="292894" y="296799"/>
                </a:lnTo>
                <a:cubicBezTo>
                  <a:pt x="355854" y="296894"/>
                  <a:pt x="407194" y="348139"/>
                  <a:pt x="407194" y="411194"/>
                </a:cubicBezTo>
                <a:close/>
                <a:moveTo>
                  <a:pt x="83344" y="220694"/>
                </a:moveTo>
                <a:cubicBezTo>
                  <a:pt x="83344" y="241745"/>
                  <a:pt x="100394" y="258794"/>
                  <a:pt x="121444" y="258794"/>
                </a:cubicBezTo>
                <a:cubicBezTo>
                  <a:pt x="142494" y="258794"/>
                  <a:pt x="159544" y="241745"/>
                  <a:pt x="159544" y="220694"/>
                </a:cubicBezTo>
                <a:cubicBezTo>
                  <a:pt x="159544" y="199644"/>
                  <a:pt x="142494" y="182594"/>
                  <a:pt x="121444" y="182594"/>
                </a:cubicBezTo>
                <a:cubicBezTo>
                  <a:pt x="100394" y="182594"/>
                  <a:pt x="83344" y="199644"/>
                  <a:pt x="83344" y="220694"/>
                </a:cubicBezTo>
                <a:close/>
                <a:moveTo>
                  <a:pt x="330994" y="411194"/>
                </a:moveTo>
                <a:cubicBezTo>
                  <a:pt x="330994" y="390144"/>
                  <a:pt x="313944" y="373094"/>
                  <a:pt x="292894" y="373094"/>
                </a:cubicBezTo>
                <a:cubicBezTo>
                  <a:pt x="271844" y="373094"/>
                  <a:pt x="254794" y="390144"/>
                  <a:pt x="254794" y="411194"/>
                </a:cubicBezTo>
                <a:cubicBezTo>
                  <a:pt x="254794" y="432244"/>
                  <a:pt x="271844" y="449294"/>
                  <a:pt x="292894" y="449294"/>
                </a:cubicBezTo>
                <a:cubicBezTo>
                  <a:pt x="313944" y="449294"/>
                  <a:pt x="330994" y="432244"/>
                  <a:pt x="330994" y="411194"/>
                </a:cubicBezTo>
                <a:close/>
              </a:path>
            </a:pathLst>
          </a:custGeom>
          <a:solidFill>
            <a:schemeClr val="bg1"/>
          </a:solidFill>
          <a:ln w="9525" cap="flat">
            <a:noFill/>
            <a:prstDash val="solid"/>
            <a:miter/>
          </a:ln>
        </p:spPr>
        <p:txBody>
          <a:bodyPr rtlCol="0" anchor="ctr"/>
          <a:lstStyle/>
          <a:p>
            <a:endParaRPr lang="en-US" sz="1400"/>
          </a:p>
        </p:txBody>
      </p:sp>
      <p:grpSp>
        <p:nvGrpSpPr>
          <p:cNvPr id="25" name="Graphic 4">
            <a:extLst>
              <a:ext uri="{FF2B5EF4-FFF2-40B4-BE49-F238E27FC236}">
                <a16:creationId xmlns:a16="http://schemas.microsoft.com/office/drawing/2014/main" id="{6A59FE07-5993-43DF-9352-72E67FE998E9}"/>
              </a:ext>
            </a:extLst>
          </p:cNvPr>
          <p:cNvGrpSpPr/>
          <p:nvPr/>
        </p:nvGrpSpPr>
        <p:grpSpPr bwMode="gray">
          <a:xfrm>
            <a:off x="7217219" y="4184077"/>
            <a:ext cx="501304" cy="303937"/>
            <a:chOff x="7568184" y="2866072"/>
            <a:chExt cx="560165" cy="334331"/>
          </a:xfrm>
          <a:solidFill>
            <a:schemeClr val="bg1"/>
          </a:solidFill>
        </p:grpSpPr>
        <p:sp>
          <p:nvSpPr>
            <p:cNvPr id="26" name="Freeform: Shape 25">
              <a:extLst>
                <a:ext uri="{FF2B5EF4-FFF2-40B4-BE49-F238E27FC236}">
                  <a16:creationId xmlns:a16="http://schemas.microsoft.com/office/drawing/2014/main" id="{4F579E06-2443-4AFA-8D9B-74E9EBF12062}"/>
                </a:ext>
              </a:extLst>
            </p:cNvPr>
            <p:cNvSpPr/>
            <p:nvPr/>
          </p:nvSpPr>
          <p:spPr bwMode="gray">
            <a:xfrm>
              <a:off x="7693438" y="2866072"/>
              <a:ext cx="114300" cy="114300"/>
            </a:xfrm>
            <a:custGeom>
              <a:avLst/>
              <a:gdLst>
                <a:gd name="connsiteX0" fmla="*/ 114300 w 114300"/>
                <a:gd name="connsiteY0" fmla="*/ 57436 h 114300"/>
                <a:gd name="connsiteX1" fmla="*/ 57150 w 114300"/>
                <a:gd name="connsiteY1" fmla="*/ 0 h 114300"/>
                <a:gd name="connsiteX2" fmla="*/ 0 w 114300"/>
                <a:gd name="connsiteY2" fmla="*/ 57436 h 114300"/>
                <a:gd name="connsiteX3" fmla="*/ 57150 w 114300"/>
                <a:gd name="connsiteY3" fmla="*/ 114871 h 114300"/>
                <a:gd name="connsiteX4" fmla="*/ 114300 w 114300"/>
                <a:gd name="connsiteY4" fmla="*/ 57436 h 114300"/>
                <a:gd name="connsiteX5" fmla="*/ 57150 w 114300"/>
                <a:gd name="connsiteY5" fmla="*/ 76867 h 114300"/>
                <a:gd name="connsiteX6" fmla="*/ 38005 w 114300"/>
                <a:gd name="connsiteY6" fmla="*/ 57436 h 114300"/>
                <a:gd name="connsiteX7" fmla="*/ 57150 w 114300"/>
                <a:gd name="connsiteY7" fmla="*/ 38005 h 114300"/>
                <a:gd name="connsiteX8" fmla="*/ 76295 w 114300"/>
                <a:gd name="connsiteY8" fmla="*/ 57436 h 114300"/>
                <a:gd name="connsiteX9" fmla="*/ 57150 w 114300"/>
                <a:gd name="connsiteY9" fmla="*/ 76867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114300" y="57436"/>
                  </a:moveTo>
                  <a:cubicBezTo>
                    <a:pt x="114300" y="25813"/>
                    <a:pt x="88678" y="0"/>
                    <a:pt x="57150" y="0"/>
                  </a:cubicBezTo>
                  <a:cubicBezTo>
                    <a:pt x="25622" y="0"/>
                    <a:pt x="0" y="25718"/>
                    <a:pt x="0" y="57436"/>
                  </a:cubicBezTo>
                  <a:cubicBezTo>
                    <a:pt x="0" y="89154"/>
                    <a:pt x="25622" y="114871"/>
                    <a:pt x="57150" y="114871"/>
                  </a:cubicBezTo>
                  <a:cubicBezTo>
                    <a:pt x="88678" y="114871"/>
                    <a:pt x="114300" y="89059"/>
                    <a:pt x="114300" y="57436"/>
                  </a:cubicBezTo>
                  <a:close/>
                  <a:moveTo>
                    <a:pt x="57150" y="76867"/>
                  </a:moveTo>
                  <a:cubicBezTo>
                    <a:pt x="46577" y="76867"/>
                    <a:pt x="38005" y="68104"/>
                    <a:pt x="38005" y="57436"/>
                  </a:cubicBezTo>
                  <a:cubicBezTo>
                    <a:pt x="38005" y="46673"/>
                    <a:pt x="46577" y="38005"/>
                    <a:pt x="57150" y="38005"/>
                  </a:cubicBezTo>
                  <a:cubicBezTo>
                    <a:pt x="67723" y="38005"/>
                    <a:pt x="76295" y="46768"/>
                    <a:pt x="76295" y="57436"/>
                  </a:cubicBezTo>
                  <a:cubicBezTo>
                    <a:pt x="76295" y="68199"/>
                    <a:pt x="67723" y="76867"/>
                    <a:pt x="57150" y="76867"/>
                  </a:cubicBezTo>
                  <a:close/>
                </a:path>
              </a:pathLst>
            </a:custGeom>
            <a:grpFill/>
            <a:ln w="9525" cap="flat">
              <a:noFill/>
              <a:prstDash val="solid"/>
              <a:miter/>
            </a:ln>
          </p:spPr>
          <p:txBody>
            <a:bodyPr rtlCol="0" anchor="ctr"/>
            <a:lstStyle/>
            <a:p>
              <a:endParaRPr lang="en-GB" sz="1400"/>
            </a:p>
          </p:txBody>
        </p:sp>
        <p:sp>
          <p:nvSpPr>
            <p:cNvPr id="27" name="Freeform: Shape 26">
              <a:extLst>
                <a:ext uri="{FF2B5EF4-FFF2-40B4-BE49-F238E27FC236}">
                  <a16:creationId xmlns:a16="http://schemas.microsoft.com/office/drawing/2014/main" id="{571AF740-6642-4859-AF12-5E2BB91FC6A7}"/>
                </a:ext>
              </a:extLst>
            </p:cNvPr>
            <p:cNvSpPr/>
            <p:nvPr/>
          </p:nvSpPr>
          <p:spPr bwMode="gray">
            <a:xfrm>
              <a:off x="7891653" y="2866072"/>
              <a:ext cx="114300" cy="114300"/>
            </a:xfrm>
            <a:custGeom>
              <a:avLst/>
              <a:gdLst>
                <a:gd name="connsiteX0" fmla="*/ 114300 w 114300"/>
                <a:gd name="connsiteY0" fmla="*/ 57436 h 114300"/>
                <a:gd name="connsiteX1" fmla="*/ 57150 w 114300"/>
                <a:gd name="connsiteY1" fmla="*/ 0 h 114300"/>
                <a:gd name="connsiteX2" fmla="*/ 0 w 114300"/>
                <a:gd name="connsiteY2" fmla="*/ 57436 h 114300"/>
                <a:gd name="connsiteX3" fmla="*/ 57150 w 114300"/>
                <a:gd name="connsiteY3" fmla="*/ 114871 h 114300"/>
                <a:gd name="connsiteX4" fmla="*/ 114300 w 114300"/>
                <a:gd name="connsiteY4" fmla="*/ 57436 h 114300"/>
                <a:gd name="connsiteX5" fmla="*/ 57150 w 114300"/>
                <a:gd name="connsiteY5" fmla="*/ 76867 h 114300"/>
                <a:gd name="connsiteX6" fmla="*/ 38005 w 114300"/>
                <a:gd name="connsiteY6" fmla="*/ 57436 h 114300"/>
                <a:gd name="connsiteX7" fmla="*/ 57150 w 114300"/>
                <a:gd name="connsiteY7" fmla="*/ 38005 h 114300"/>
                <a:gd name="connsiteX8" fmla="*/ 76295 w 114300"/>
                <a:gd name="connsiteY8" fmla="*/ 57436 h 114300"/>
                <a:gd name="connsiteX9" fmla="*/ 57150 w 114300"/>
                <a:gd name="connsiteY9" fmla="*/ 76867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4300" h="114300">
                  <a:moveTo>
                    <a:pt x="114300" y="57436"/>
                  </a:moveTo>
                  <a:cubicBezTo>
                    <a:pt x="114300" y="25813"/>
                    <a:pt x="88678" y="0"/>
                    <a:pt x="57150" y="0"/>
                  </a:cubicBezTo>
                  <a:cubicBezTo>
                    <a:pt x="25622" y="0"/>
                    <a:pt x="0" y="25718"/>
                    <a:pt x="0" y="57436"/>
                  </a:cubicBezTo>
                  <a:cubicBezTo>
                    <a:pt x="0" y="89154"/>
                    <a:pt x="25622" y="114871"/>
                    <a:pt x="57150" y="114871"/>
                  </a:cubicBezTo>
                  <a:cubicBezTo>
                    <a:pt x="88678" y="114871"/>
                    <a:pt x="114300" y="89059"/>
                    <a:pt x="114300" y="57436"/>
                  </a:cubicBezTo>
                  <a:close/>
                  <a:moveTo>
                    <a:pt x="57150" y="76867"/>
                  </a:moveTo>
                  <a:cubicBezTo>
                    <a:pt x="46577" y="76867"/>
                    <a:pt x="38005" y="68104"/>
                    <a:pt x="38005" y="57436"/>
                  </a:cubicBezTo>
                  <a:cubicBezTo>
                    <a:pt x="38005" y="46673"/>
                    <a:pt x="46577" y="38005"/>
                    <a:pt x="57150" y="38005"/>
                  </a:cubicBezTo>
                  <a:cubicBezTo>
                    <a:pt x="67723" y="38005"/>
                    <a:pt x="76295" y="46768"/>
                    <a:pt x="76295" y="57436"/>
                  </a:cubicBezTo>
                  <a:cubicBezTo>
                    <a:pt x="76391" y="68199"/>
                    <a:pt x="67818" y="76867"/>
                    <a:pt x="57150" y="76867"/>
                  </a:cubicBezTo>
                  <a:close/>
                </a:path>
              </a:pathLst>
            </a:custGeom>
            <a:grpFill/>
            <a:ln w="9525" cap="flat">
              <a:noFill/>
              <a:prstDash val="solid"/>
              <a:miter/>
            </a:ln>
          </p:spPr>
          <p:txBody>
            <a:bodyPr rtlCol="0" anchor="ctr"/>
            <a:lstStyle/>
            <a:p>
              <a:endParaRPr lang="en-GB" sz="1400"/>
            </a:p>
          </p:txBody>
        </p:sp>
        <p:sp>
          <p:nvSpPr>
            <p:cNvPr id="28" name="Freeform: Shape 27">
              <a:extLst>
                <a:ext uri="{FF2B5EF4-FFF2-40B4-BE49-F238E27FC236}">
                  <a16:creationId xmlns:a16="http://schemas.microsoft.com/office/drawing/2014/main" id="{6E7BB407-31C2-4837-BDBA-6A23D14D91EA}"/>
                </a:ext>
              </a:extLst>
            </p:cNvPr>
            <p:cNvSpPr/>
            <p:nvPr/>
          </p:nvSpPr>
          <p:spPr bwMode="gray">
            <a:xfrm>
              <a:off x="7568184" y="2971800"/>
              <a:ext cx="161925" cy="228600"/>
            </a:xfrm>
            <a:custGeom>
              <a:avLst/>
              <a:gdLst>
                <a:gd name="connsiteX0" fmla="*/ 138875 w 161925"/>
                <a:gd name="connsiteY0" fmla="*/ 57436 h 228600"/>
                <a:gd name="connsiteX1" fmla="*/ 81725 w 161925"/>
                <a:gd name="connsiteY1" fmla="*/ 0 h 228600"/>
                <a:gd name="connsiteX2" fmla="*/ 24575 w 161925"/>
                <a:gd name="connsiteY2" fmla="*/ 57436 h 228600"/>
                <a:gd name="connsiteX3" fmla="*/ 50959 w 161925"/>
                <a:gd name="connsiteY3" fmla="*/ 105728 h 228600"/>
                <a:gd name="connsiteX4" fmla="*/ 0 w 161925"/>
                <a:gd name="connsiteY4" fmla="*/ 105728 h 228600"/>
                <a:gd name="connsiteX5" fmla="*/ 0 w 161925"/>
                <a:gd name="connsiteY5" fmla="*/ 231839 h 228600"/>
                <a:gd name="connsiteX6" fmla="*/ 37910 w 161925"/>
                <a:gd name="connsiteY6" fmla="*/ 231839 h 228600"/>
                <a:gd name="connsiteX7" fmla="*/ 37910 w 161925"/>
                <a:gd name="connsiteY7" fmla="*/ 143637 h 228600"/>
                <a:gd name="connsiteX8" fmla="*/ 125539 w 161925"/>
                <a:gd name="connsiteY8" fmla="*/ 143637 h 228600"/>
                <a:gd name="connsiteX9" fmla="*/ 125539 w 161925"/>
                <a:gd name="connsiteY9" fmla="*/ 231839 h 228600"/>
                <a:gd name="connsiteX10" fmla="*/ 163449 w 161925"/>
                <a:gd name="connsiteY10" fmla="*/ 231839 h 228600"/>
                <a:gd name="connsiteX11" fmla="*/ 163449 w 161925"/>
                <a:gd name="connsiteY11" fmla="*/ 105728 h 228600"/>
                <a:gd name="connsiteX12" fmla="*/ 112395 w 161925"/>
                <a:gd name="connsiteY12" fmla="*/ 105728 h 228600"/>
                <a:gd name="connsiteX13" fmla="*/ 138875 w 161925"/>
                <a:gd name="connsiteY13" fmla="*/ 57436 h 228600"/>
                <a:gd name="connsiteX14" fmla="*/ 81725 w 161925"/>
                <a:gd name="connsiteY14" fmla="*/ 38005 h 228600"/>
                <a:gd name="connsiteX15" fmla="*/ 100870 w 161925"/>
                <a:gd name="connsiteY15" fmla="*/ 57436 h 228600"/>
                <a:gd name="connsiteX16" fmla="*/ 81725 w 161925"/>
                <a:gd name="connsiteY16" fmla="*/ 76867 h 228600"/>
                <a:gd name="connsiteX17" fmla="*/ 62579 w 161925"/>
                <a:gd name="connsiteY17" fmla="*/ 57436 h 228600"/>
                <a:gd name="connsiteX18" fmla="*/ 81725 w 161925"/>
                <a:gd name="connsiteY18" fmla="*/ 3800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28600">
                  <a:moveTo>
                    <a:pt x="138875" y="57436"/>
                  </a:moveTo>
                  <a:cubicBezTo>
                    <a:pt x="138875" y="25813"/>
                    <a:pt x="113252" y="0"/>
                    <a:pt x="81725" y="0"/>
                  </a:cubicBezTo>
                  <a:cubicBezTo>
                    <a:pt x="50197" y="0"/>
                    <a:pt x="24575" y="25718"/>
                    <a:pt x="24575" y="57436"/>
                  </a:cubicBezTo>
                  <a:cubicBezTo>
                    <a:pt x="24575" y="77724"/>
                    <a:pt x="35147" y="95536"/>
                    <a:pt x="50959" y="105728"/>
                  </a:cubicBezTo>
                  <a:lnTo>
                    <a:pt x="0" y="105728"/>
                  </a:lnTo>
                  <a:lnTo>
                    <a:pt x="0" y="231839"/>
                  </a:lnTo>
                  <a:lnTo>
                    <a:pt x="37910" y="231839"/>
                  </a:lnTo>
                  <a:lnTo>
                    <a:pt x="37910" y="143637"/>
                  </a:lnTo>
                  <a:lnTo>
                    <a:pt x="125539" y="143637"/>
                  </a:lnTo>
                  <a:lnTo>
                    <a:pt x="125539" y="231839"/>
                  </a:lnTo>
                  <a:lnTo>
                    <a:pt x="163449" y="231839"/>
                  </a:lnTo>
                  <a:lnTo>
                    <a:pt x="163449" y="105728"/>
                  </a:lnTo>
                  <a:lnTo>
                    <a:pt x="112395" y="105728"/>
                  </a:lnTo>
                  <a:cubicBezTo>
                    <a:pt x="128302" y="95536"/>
                    <a:pt x="138875" y="77724"/>
                    <a:pt x="138875" y="57436"/>
                  </a:cubicBezTo>
                  <a:close/>
                  <a:moveTo>
                    <a:pt x="81725" y="38005"/>
                  </a:moveTo>
                  <a:cubicBezTo>
                    <a:pt x="92297" y="38005"/>
                    <a:pt x="100870" y="46768"/>
                    <a:pt x="100870" y="57436"/>
                  </a:cubicBezTo>
                  <a:cubicBezTo>
                    <a:pt x="100870" y="68199"/>
                    <a:pt x="92297" y="76867"/>
                    <a:pt x="81725" y="76867"/>
                  </a:cubicBezTo>
                  <a:cubicBezTo>
                    <a:pt x="71152" y="76867"/>
                    <a:pt x="62579" y="68104"/>
                    <a:pt x="62579" y="57436"/>
                  </a:cubicBezTo>
                  <a:cubicBezTo>
                    <a:pt x="62579" y="46672"/>
                    <a:pt x="71152" y="38005"/>
                    <a:pt x="81725" y="38005"/>
                  </a:cubicBezTo>
                  <a:close/>
                </a:path>
              </a:pathLst>
            </a:custGeom>
            <a:grpFill/>
            <a:ln w="9525" cap="flat">
              <a:noFill/>
              <a:prstDash val="solid"/>
              <a:miter/>
            </a:ln>
          </p:spPr>
          <p:txBody>
            <a:bodyPr rtlCol="0" anchor="ctr"/>
            <a:lstStyle/>
            <a:p>
              <a:endParaRPr lang="en-GB" sz="1400"/>
            </a:p>
          </p:txBody>
        </p:sp>
        <p:sp>
          <p:nvSpPr>
            <p:cNvPr id="29" name="Freeform: Shape 28">
              <a:extLst>
                <a:ext uri="{FF2B5EF4-FFF2-40B4-BE49-F238E27FC236}">
                  <a16:creationId xmlns:a16="http://schemas.microsoft.com/office/drawing/2014/main" id="{EACA5B37-C961-468D-A834-69363675F4F7}"/>
                </a:ext>
              </a:extLst>
            </p:cNvPr>
            <p:cNvSpPr/>
            <p:nvPr/>
          </p:nvSpPr>
          <p:spPr bwMode="gray">
            <a:xfrm>
              <a:off x="7767542" y="2971800"/>
              <a:ext cx="161925" cy="228600"/>
            </a:xfrm>
            <a:custGeom>
              <a:avLst/>
              <a:gdLst>
                <a:gd name="connsiteX0" fmla="*/ 138875 w 161925"/>
                <a:gd name="connsiteY0" fmla="*/ 57436 h 228600"/>
                <a:gd name="connsiteX1" fmla="*/ 81725 w 161925"/>
                <a:gd name="connsiteY1" fmla="*/ 0 h 228600"/>
                <a:gd name="connsiteX2" fmla="*/ 24575 w 161925"/>
                <a:gd name="connsiteY2" fmla="*/ 57436 h 228600"/>
                <a:gd name="connsiteX3" fmla="*/ 50959 w 161925"/>
                <a:gd name="connsiteY3" fmla="*/ 105728 h 228600"/>
                <a:gd name="connsiteX4" fmla="*/ 0 w 161925"/>
                <a:gd name="connsiteY4" fmla="*/ 105728 h 228600"/>
                <a:gd name="connsiteX5" fmla="*/ 0 w 161925"/>
                <a:gd name="connsiteY5" fmla="*/ 231839 h 228600"/>
                <a:gd name="connsiteX6" fmla="*/ 37910 w 161925"/>
                <a:gd name="connsiteY6" fmla="*/ 231839 h 228600"/>
                <a:gd name="connsiteX7" fmla="*/ 37910 w 161925"/>
                <a:gd name="connsiteY7" fmla="*/ 143637 h 228600"/>
                <a:gd name="connsiteX8" fmla="*/ 125540 w 161925"/>
                <a:gd name="connsiteY8" fmla="*/ 143637 h 228600"/>
                <a:gd name="connsiteX9" fmla="*/ 125540 w 161925"/>
                <a:gd name="connsiteY9" fmla="*/ 231839 h 228600"/>
                <a:gd name="connsiteX10" fmla="*/ 163449 w 161925"/>
                <a:gd name="connsiteY10" fmla="*/ 231839 h 228600"/>
                <a:gd name="connsiteX11" fmla="*/ 163449 w 161925"/>
                <a:gd name="connsiteY11" fmla="*/ 105728 h 228600"/>
                <a:gd name="connsiteX12" fmla="*/ 112395 w 161925"/>
                <a:gd name="connsiteY12" fmla="*/ 105728 h 228600"/>
                <a:gd name="connsiteX13" fmla="*/ 138875 w 161925"/>
                <a:gd name="connsiteY13" fmla="*/ 57436 h 228600"/>
                <a:gd name="connsiteX14" fmla="*/ 81725 w 161925"/>
                <a:gd name="connsiteY14" fmla="*/ 38005 h 228600"/>
                <a:gd name="connsiteX15" fmla="*/ 100870 w 161925"/>
                <a:gd name="connsiteY15" fmla="*/ 57436 h 228600"/>
                <a:gd name="connsiteX16" fmla="*/ 81725 w 161925"/>
                <a:gd name="connsiteY16" fmla="*/ 76867 h 228600"/>
                <a:gd name="connsiteX17" fmla="*/ 62579 w 161925"/>
                <a:gd name="connsiteY17" fmla="*/ 57436 h 228600"/>
                <a:gd name="connsiteX18" fmla="*/ 81725 w 161925"/>
                <a:gd name="connsiteY18" fmla="*/ 3800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28600">
                  <a:moveTo>
                    <a:pt x="138875" y="57436"/>
                  </a:moveTo>
                  <a:cubicBezTo>
                    <a:pt x="138875" y="25813"/>
                    <a:pt x="113252" y="0"/>
                    <a:pt x="81725" y="0"/>
                  </a:cubicBezTo>
                  <a:cubicBezTo>
                    <a:pt x="50197" y="0"/>
                    <a:pt x="24575" y="25718"/>
                    <a:pt x="24575" y="57436"/>
                  </a:cubicBezTo>
                  <a:cubicBezTo>
                    <a:pt x="24575" y="77724"/>
                    <a:pt x="35147" y="95536"/>
                    <a:pt x="50959" y="105728"/>
                  </a:cubicBezTo>
                  <a:lnTo>
                    <a:pt x="0" y="105728"/>
                  </a:lnTo>
                  <a:lnTo>
                    <a:pt x="0" y="231839"/>
                  </a:lnTo>
                  <a:lnTo>
                    <a:pt x="37910" y="231839"/>
                  </a:lnTo>
                  <a:lnTo>
                    <a:pt x="37910" y="143637"/>
                  </a:lnTo>
                  <a:lnTo>
                    <a:pt x="125540" y="143637"/>
                  </a:lnTo>
                  <a:lnTo>
                    <a:pt x="125540" y="231839"/>
                  </a:lnTo>
                  <a:lnTo>
                    <a:pt x="163449" y="231839"/>
                  </a:lnTo>
                  <a:lnTo>
                    <a:pt x="163449" y="105728"/>
                  </a:lnTo>
                  <a:lnTo>
                    <a:pt x="112395" y="105728"/>
                  </a:lnTo>
                  <a:cubicBezTo>
                    <a:pt x="128302" y="95536"/>
                    <a:pt x="138875" y="77724"/>
                    <a:pt x="138875" y="57436"/>
                  </a:cubicBezTo>
                  <a:close/>
                  <a:moveTo>
                    <a:pt x="81725" y="38005"/>
                  </a:moveTo>
                  <a:cubicBezTo>
                    <a:pt x="92297" y="38005"/>
                    <a:pt x="100870" y="46768"/>
                    <a:pt x="100870" y="57436"/>
                  </a:cubicBezTo>
                  <a:cubicBezTo>
                    <a:pt x="100870" y="68199"/>
                    <a:pt x="92297" y="76867"/>
                    <a:pt x="81725" y="76867"/>
                  </a:cubicBezTo>
                  <a:cubicBezTo>
                    <a:pt x="71152" y="76867"/>
                    <a:pt x="62579" y="68104"/>
                    <a:pt x="62579" y="57436"/>
                  </a:cubicBezTo>
                  <a:cubicBezTo>
                    <a:pt x="62579" y="46672"/>
                    <a:pt x="71152" y="38005"/>
                    <a:pt x="81725" y="38005"/>
                  </a:cubicBezTo>
                  <a:close/>
                </a:path>
              </a:pathLst>
            </a:custGeom>
            <a:grpFill/>
            <a:ln w="9525" cap="flat">
              <a:noFill/>
              <a:prstDash val="solid"/>
              <a:miter/>
            </a:ln>
          </p:spPr>
          <p:txBody>
            <a:bodyPr rtlCol="0" anchor="ctr"/>
            <a:lstStyle/>
            <a:p>
              <a:endParaRPr lang="en-GB" sz="1400"/>
            </a:p>
          </p:txBody>
        </p:sp>
        <p:sp>
          <p:nvSpPr>
            <p:cNvPr id="30" name="Freeform: Shape 29">
              <a:extLst>
                <a:ext uri="{FF2B5EF4-FFF2-40B4-BE49-F238E27FC236}">
                  <a16:creationId xmlns:a16="http://schemas.microsoft.com/office/drawing/2014/main" id="{5AA57491-C680-48AD-8DEA-A1C00C1939C5}"/>
                </a:ext>
              </a:extLst>
            </p:cNvPr>
            <p:cNvSpPr/>
            <p:nvPr/>
          </p:nvSpPr>
          <p:spPr bwMode="gray">
            <a:xfrm>
              <a:off x="7966424" y="2971803"/>
              <a:ext cx="161925" cy="228600"/>
            </a:xfrm>
            <a:custGeom>
              <a:avLst/>
              <a:gdLst>
                <a:gd name="connsiteX0" fmla="*/ 112490 w 161925"/>
                <a:gd name="connsiteY0" fmla="*/ 105728 h 228600"/>
                <a:gd name="connsiteX1" fmla="*/ 138875 w 161925"/>
                <a:gd name="connsiteY1" fmla="*/ 57436 h 228600"/>
                <a:gd name="connsiteX2" fmla="*/ 81725 w 161925"/>
                <a:gd name="connsiteY2" fmla="*/ 0 h 228600"/>
                <a:gd name="connsiteX3" fmla="*/ 24575 w 161925"/>
                <a:gd name="connsiteY3" fmla="*/ 57436 h 228600"/>
                <a:gd name="connsiteX4" fmla="*/ 50959 w 161925"/>
                <a:gd name="connsiteY4" fmla="*/ 105728 h 228600"/>
                <a:gd name="connsiteX5" fmla="*/ 0 w 161925"/>
                <a:gd name="connsiteY5" fmla="*/ 105728 h 228600"/>
                <a:gd name="connsiteX6" fmla="*/ 0 w 161925"/>
                <a:gd name="connsiteY6" fmla="*/ 231839 h 228600"/>
                <a:gd name="connsiteX7" fmla="*/ 37910 w 161925"/>
                <a:gd name="connsiteY7" fmla="*/ 231839 h 228600"/>
                <a:gd name="connsiteX8" fmla="*/ 37910 w 161925"/>
                <a:gd name="connsiteY8" fmla="*/ 143637 h 228600"/>
                <a:gd name="connsiteX9" fmla="*/ 125539 w 161925"/>
                <a:gd name="connsiteY9" fmla="*/ 143637 h 228600"/>
                <a:gd name="connsiteX10" fmla="*/ 125539 w 161925"/>
                <a:gd name="connsiteY10" fmla="*/ 231839 h 228600"/>
                <a:gd name="connsiteX11" fmla="*/ 163449 w 161925"/>
                <a:gd name="connsiteY11" fmla="*/ 231839 h 228600"/>
                <a:gd name="connsiteX12" fmla="*/ 163449 w 161925"/>
                <a:gd name="connsiteY12" fmla="*/ 105728 h 228600"/>
                <a:gd name="connsiteX13" fmla="*/ 112490 w 161925"/>
                <a:gd name="connsiteY13" fmla="*/ 105728 h 228600"/>
                <a:gd name="connsiteX14" fmla="*/ 81725 w 161925"/>
                <a:gd name="connsiteY14" fmla="*/ 38005 h 228600"/>
                <a:gd name="connsiteX15" fmla="*/ 100870 w 161925"/>
                <a:gd name="connsiteY15" fmla="*/ 57436 h 228600"/>
                <a:gd name="connsiteX16" fmla="*/ 81725 w 161925"/>
                <a:gd name="connsiteY16" fmla="*/ 76867 h 228600"/>
                <a:gd name="connsiteX17" fmla="*/ 62579 w 161925"/>
                <a:gd name="connsiteY17" fmla="*/ 57436 h 228600"/>
                <a:gd name="connsiteX18" fmla="*/ 81725 w 161925"/>
                <a:gd name="connsiteY18" fmla="*/ 38005 h 228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161925" h="228600">
                  <a:moveTo>
                    <a:pt x="112490" y="105728"/>
                  </a:moveTo>
                  <a:cubicBezTo>
                    <a:pt x="128302" y="95536"/>
                    <a:pt x="138875" y="77724"/>
                    <a:pt x="138875" y="57436"/>
                  </a:cubicBezTo>
                  <a:cubicBezTo>
                    <a:pt x="138875" y="25813"/>
                    <a:pt x="113252" y="0"/>
                    <a:pt x="81725" y="0"/>
                  </a:cubicBezTo>
                  <a:cubicBezTo>
                    <a:pt x="50197" y="0"/>
                    <a:pt x="24575" y="25718"/>
                    <a:pt x="24575" y="57436"/>
                  </a:cubicBezTo>
                  <a:cubicBezTo>
                    <a:pt x="24575" y="77724"/>
                    <a:pt x="35147" y="95536"/>
                    <a:pt x="50959" y="105728"/>
                  </a:cubicBezTo>
                  <a:lnTo>
                    <a:pt x="0" y="105728"/>
                  </a:lnTo>
                  <a:lnTo>
                    <a:pt x="0" y="231839"/>
                  </a:lnTo>
                  <a:lnTo>
                    <a:pt x="37910" y="231839"/>
                  </a:lnTo>
                  <a:lnTo>
                    <a:pt x="37910" y="143637"/>
                  </a:lnTo>
                  <a:lnTo>
                    <a:pt x="125539" y="143637"/>
                  </a:lnTo>
                  <a:lnTo>
                    <a:pt x="125539" y="231839"/>
                  </a:lnTo>
                  <a:lnTo>
                    <a:pt x="163449" y="231839"/>
                  </a:lnTo>
                  <a:lnTo>
                    <a:pt x="163449" y="105728"/>
                  </a:lnTo>
                  <a:lnTo>
                    <a:pt x="112490" y="105728"/>
                  </a:lnTo>
                  <a:close/>
                  <a:moveTo>
                    <a:pt x="81725" y="38005"/>
                  </a:moveTo>
                  <a:cubicBezTo>
                    <a:pt x="92297" y="38005"/>
                    <a:pt x="100870" y="46768"/>
                    <a:pt x="100870" y="57436"/>
                  </a:cubicBezTo>
                  <a:cubicBezTo>
                    <a:pt x="100870" y="68199"/>
                    <a:pt x="92297" y="76867"/>
                    <a:pt x="81725" y="76867"/>
                  </a:cubicBezTo>
                  <a:cubicBezTo>
                    <a:pt x="71152" y="76867"/>
                    <a:pt x="62579" y="68104"/>
                    <a:pt x="62579" y="57436"/>
                  </a:cubicBezTo>
                  <a:cubicBezTo>
                    <a:pt x="62579" y="46672"/>
                    <a:pt x="71152" y="38005"/>
                    <a:pt x="81725" y="38005"/>
                  </a:cubicBezTo>
                  <a:close/>
                </a:path>
              </a:pathLst>
            </a:custGeom>
            <a:grpFill/>
            <a:ln w="9525" cap="flat">
              <a:noFill/>
              <a:prstDash val="solid"/>
              <a:miter/>
            </a:ln>
          </p:spPr>
          <p:txBody>
            <a:bodyPr rtlCol="0" anchor="ctr"/>
            <a:lstStyle/>
            <a:p>
              <a:endParaRPr lang="en-GB" sz="1400"/>
            </a:p>
          </p:txBody>
        </p:sp>
      </p:grpSp>
      <p:sp>
        <p:nvSpPr>
          <p:cNvPr id="31" name="Freeform: Shape 30">
            <a:extLst>
              <a:ext uri="{FF2B5EF4-FFF2-40B4-BE49-F238E27FC236}">
                <a16:creationId xmlns:a16="http://schemas.microsoft.com/office/drawing/2014/main" id="{F96A5FA3-CD33-4566-A485-D3B8F58AE982}"/>
              </a:ext>
            </a:extLst>
          </p:cNvPr>
          <p:cNvSpPr/>
          <p:nvPr/>
        </p:nvSpPr>
        <p:spPr bwMode="gray">
          <a:xfrm>
            <a:off x="4443870" y="4145234"/>
            <a:ext cx="502924" cy="363682"/>
          </a:xfrm>
          <a:custGeom>
            <a:avLst/>
            <a:gdLst>
              <a:gd name="connsiteX0" fmla="*/ 511969 w 561975"/>
              <a:gd name="connsiteY0" fmla="*/ 73819 h 400050"/>
              <a:gd name="connsiteX1" fmla="*/ 559594 w 561975"/>
              <a:gd name="connsiteY1" fmla="*/ 73819 h 400050"/>
              <a:gd name="connsiteX2" fmla="*/ 559594 w 561975"/>
              <a:gd name="connsiteY2" fmla="*/ 35719 h 400050"/>
              <a:gd name="connsiteX3" fmla="*/ 473869 w 561975"/>
              <a:gd name="connsiteY3" fmla="*/ 35719 h 400050"/>
              <a:gd name="connsiteX4" fmla="*/ 473869 w 561975"/>
              <a:gd name="connsiteY4" fmla="*/ 64770 h 400050"/>
              <a:gd name="connsiteX5" fmla="*/ 382429 w 561975"/>
              <a:gd name="connsiteY5" fmla="*/ 26670 h 400050"/>
              <a:gd name="connsiteX6" fmla="*/ 292513 w 561975"/>
              <a:gd name="connsiteY6" fmla="*/ 26670 h 400050"/>
              <a:gd name="connsiteX7" fmla="*/ 247364 w 561975"/>
              <a:gd name="connsiteY7" fmla="*/ 45244 h 400050"/>
              <a:gd name="connsiteX8" fmla="*/ 92869 w 561975"/>
              <a:gd name="connsiteY8" fmla="*/ 45244 h 400050"/>
              <a:gd name="connsiteX9" fmla="*/ 92869 w 561975"/>
              <a:gd name="connsiteY9" fmla="*/ 7144 h 400050"/>
              <a:gd name="connsiteX10" fmla="*/ 7144 w 561975"/>
              <a:gd name="connsiteY10" fmla="*/ 7144 h 400050"/>
              <a:gd name="connsiteX11" fmla="*/ 7144 w 561975"/>
              <a:gd name="connsiteY11" fmla="*/ 45244 h 400050"/>
              <a:gd name="connsiteX12" fmla="*/ 54769 w 561975"/>
              <a:gd name="connsiteY12" fmla="*/ 45244 h 400050"/>
              <a:gd name="connsiteX13" fmla="*/ 54769 w 561975"/>
              <a:gd name="connsiteY13" fmla="*/ 264319 h 400050"/>
              <a:gd name="connsiteX14" fmla="*/ 7144 w 561975"/>
              <a:gd name="connsiteY14" fmla="*/ 264319 h 400050"/>
              <a:gd name="connsiteX15" fmla="*/ 7144 w 561975"/>
              <a:gd name="connsiteY15" fmla="*/ 302419 h 400050"/>
              <a:gd name="connsiteX16" fmla="*/ 92869 w 561975"/>
              <a:gd name="connsiteY16" fmla="*/ 302419 h 400050"/>
              <a:gd name="connsiteX17" fmla="*/ 92869 w 561975"/>
              <a:gd name="connsiteY17" fmla="*/ 273844 h 400050"/>
              <a:gd name="connsiteX18" fmla="*/ 110966 w 561975"/>
              <a:gd name="connsiteY18" fmla="*/ 273844 h 400050"/>
              <a:gd name="connsiteX19" fmla="*/ 162592 w 561975"/>
              <a:gd name="connsiteY19" fmla="*/ 354997 h 400050"/>
              <a:gd name="connsiteX20" fmla="*/ 195167 w 561975"/>
              <a:gd name="connsiteY20" fmla="*/ 384429 h 400050"/>
              <a:gd name="connsiteX21" fmla="*/ 231934 w 561975"/>
              <a:gd name="connsiteY21" fmla="*/ 393097 h 400050"/>
              <a:gd name="connsiteX22" fmla="*/ 255651 w 561975"/>
              <a:gd name="connsiteY22" fmla="*/ 389573 h 400050"/>
              <a:gd name="connsiteX23" fmla="*/ 381381 w 561975"/>
              <a:gd name="connsiteY23" fmla="*/ 351854 h 400050"/>
              <a:gd name="connsiteX24" fmla="*/ 446532 w 561975"/>
              <a:gd name="connsiteY24" fmla="*/ 302800 h 400050"/>
              <a:gd name="connsiteX25" fmla="*/ 473869 w 561975"/>
              <a:gd name="connsiteY25" fmla="*/ 302800 h 400050"/>
              <a:gd name="connsiteX26" fmla="*/ 473869 w 561975"/>
              <a:gd name="connsiteY26" fmla="*/ 330899 h 400050"/>
              <a:gd name="connsiteX27" fmla="*/ 559594 w 561975"/>
              <a:gd name="connsiteY27" fmla="*/ 330899 h 400050"/>
              <a:gd name="connsiteX28" fmla="*/ 559594 w 561975"/>
              <a:gd name="connsiteY28" fmla="*/ 292799 h 400050"/>
              <a:gd name="connsiteX29" fmla="*/ 511969 w 561975"/>
              <a:gd name="connsiteY29" fmla="*/ 292799 h 400050"/>
              <a:gd name="connsiteX30" fmla="*/ 511969 w 561975"/>
              <a:gd name="connsiteY30" fmla="*/ 80582 h 400050"/>
              <a:gd name="connsiteX31" fmla="*/ 511969 w 561975"/>
              <a:gd name="connsiteY31" fmla="*/ 73819 h 400050"/>
              <a:gd name="connsiteX32" fmla="*/ 370427 w 561975"/>
              <a:gd name="connsiteY32" fmla="*/ 315468 h 400050"/>
              <a:gd name="connsiteX33" fmla="*/ 244697 w 561975"/>
              <a:gd name="connsiteY33" fmla="*/ 353187 h 400050"/>
              <a:gd name="connsiteX34" fmla="*/ 212217 w 561975"/>
              <a:gd name="connsiteY34" fmla="*/ 350425 h 400050"/>
              <a:gd name="connsiteX35" fmla="*/ 194691 w 561975"/>
              <a:gd name="connsiteY35" fmla="*/ 334613 h 400050"/>
              <a:gd name="connsiteX36" fmla="*/ 131826 w 561975"/>
              <a:gd name="connsiteY36" fmla="*/ 235839 h 400050"/>
              <a:gd name="connsiteX37" fmla="*/ 92869 w 561975"/>
              <a:gd name="connsiteY37" fmla="*/ 235839 h 400050"/>
              <a:gd name="connsiteX38" fmla="*/ 92869 w 561975"/>
              <a:gd name="connsiteY38" fmla="*/ 83439 h 400050"/>
              <a:gd name="connsiteX39" fmla="*/ 209264 w 561975"/>
              <a:gd name="connsiteY39" fmla="*/ 83439 h 400050"/>
              <a:gd name="connsiteX40" fmla="*/ 132683 w 561975"/>
              <a:gd name="connsiteY40" fmla="*/ 160020 h 400050"/>
              <a:gd name="connsiteX41" fmla="*/ 156020 w 561975"/>
              <a:gd name="connsiteY41" fmla="*/ 183547 h 400050"/>
              <a:gd name="connsiteX42" fmla="*/ 216694 w 561975"/>
              <a:gd name="connsiteY42" fmla="*/ 208883 h 400050"/>
              <a:gd name="connsiteX43" fmla="*/ 216694 w 561975"/>
              <a:gd name="connsiteY43" fmla="*/ 208883 h 400050"/>
              <a:gd name="connsiteX44" fmla="*/ 277368 w 561975"/>
              <a:gd name="connsiteY44" fmla="*/ 183642 h 400050"/>
              <a:gd name="connsiteX45" fmla="*/ 300800 w 561975"/>
              <a:gd name="connsiteY45" fmla="*/ 160115 h 400050"/>
              <a:gd name="connsiteX46" fmla="*/ 330327 w 561975"/>
              <a:gd name="connsiteY46" fmla="*/ 160115 h 400050"/>
              <a:gd name="connsiteX47" fmla="*/ 413099 w 561975"/>
              <a:gd name="connsiteY47" fmla="*/ 284321 h 400050"/>
              <a:gd name="connsiteX48" fmla="*/ 370427 w 561975"/>
              <a:gd name="connsiteY48" fmla="*/ 315468 h 400050"/>
              <a:gd name="connsiteX49" fmla="*/ 445961 w 561975"/>
              <a:gd name="connsiteY49" fmla="*/ 264795 h 400050"/>
              <a:gd name="connsiteX50" fmla="*/ 350711 w 561975"/>
              <a:gd name="connsiteY50" fmla="*/ 121920 h 400050"/>
              <a:gd name="connsiteX51" fmla="*/ 284988 w 561975"/>
              <a:gd name="connsiteY51" fmla="*/ 121920 h 400050"/>
              <a:gd name="connsiteX52" fmla="*/ 250412 w 561975"/>
              <a:gd name="connsiteY52" fmla="*/ 156686 h 400050"/>
              <a:gd name="connsiteX53" fmla="*/ 216789 w 561975"/>
              <a:gd name="connsiteY53" fmla="*/ 170688 h 400050"/>
              <a:gd name="connsiteX54" fmla="*/ 216789 w 561975"/>
              <a:gd name="connsiteY54" fmla="*/ 170688 h 400050"/>
              <a:gd name="connsiteX55" fmla="*/ 186690 w 561975"/>
              <a:gd name="connsiteY55" fmla="*/ 159925 h 400050"/>
              <a:gd name="connsiteX56" fmla="*/ 274225 w 561975"/>
              <a:gd name="connsiteY56" fmla="*/ 72390 h 400050"/>
              <a:gd name="connsiteX57" fmla="*/ 292608 w 561975"/>
              <a:gd name="connsiteY57" fmla="*/ 64770 h 400050"/>
              <a:gd name="connsiteX58" fmla="*/ 374904 w 561975"/>
              <a:gd name="connsiteY58" fmla="*/ 64770 h 400050"/>
              <a:gd name="connsiteX59" fmla="*/ 473964 w 561975"/>
              <a:gd name="connsiteY59" fmla="*/ 106013 h 400050"/>
              <a:gd name="connsiteX60" fmla="*/ 473964 w 561975"/>
              <a:gd name="connsiteY60" fmla="*/ 264795 h 400050"/>
              <a:gd name="connsiteX61" fmla="*/ 445961 w 561975"/>
              <a:gd name="connsiteY61" fmla="*/ 264795 h 400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561975" h="400050">
                <a:moveTo>
                  <a:pt x="511969" y="73819"/>
                </a:moveTo>
                <a:lnTo>
                  <a:pt x="559594" y="73819"/>
                </a:lnTo>
                <a:lnTo>
                  <a:pt x="559594" y="35719"/>
                </a:lnTo>
                <a:lnTo>
                  <a:pt x="473869" y="35719"/>
                </a:lnTo>
                <a:lnTo>
                  <a:pt x="473869" y="64770"/>
                </a:lnTo>
                <a:lnTo>
                  <a:pt x="382429" y="26670"/>
                </a:lnTo>
                <a:lnTo>
                  <a:pt x="292513" y="26670"/>
                </a:lnTo>
                <a:cubicBezTo>
                  <a:pt x="275463" y="26670"/>
                  <a:pt x="259461" y="33242"/>
                  <a:pt x="247364" y="45244"/>
                </a:cubicBezTo>
                <a:lnTo>
                  <a:pt x="92869" y="45244"/>
                </a:lnTo>
                <a:lnTo>
                  <a:pt x="92869" y="7144"/>
                </a:lnTo>
                <a:lnTo>
                  <a:pt x="7144" y="7144"/>
                </a:lnTo>
                <a:lnTo>
                  <a:pt x="7144" y="45244"/>
                </a:lnTo>
                <a:lnTo>
                  <a:pt x="54769" y="45244"/>
                </a:lnTo>
                <a:lnTo>
                  <a:pt x="54769" y="264319"/>
                </a:lnTo>
                <a:lnTo>
                  <a:pt x="7144" y="264319"/>
                </a:lnTo>
                <a:lnTo>
                  <a:pt x="7144" y="302419"/>
                </a:lnTo>
                <a:lnTo>
                  <a:pt x="92869" y="302419"/>
                </a:lnTo>
                <a:lnTo>
                  <a:pt x="92869" y="273844"/>
                </a:lnTo>
                <a:lnTo>
                  <a:pt x="110966" y="273844"/>
                </a:lnTo>
                <a:lnTo>
                  <a:pt x="162592" y="354997"/>
                </a:lnTo>
                <a:cubicBezTo>
                  <a:pt x="170593" y="367570"/>
                  <a:pt x="181833" y="377762"/>
                  <a:pt x="195167" y="384429"/>
                </a:cubicBezTo>
                <a:cubicBezTo>
                  <a:pt x="206693" y="390239"/>
                  <a:pt x="219266" y="393097"/>
                  <a:pt x="231934" y="393097"/>
                </a:cubicBezTo>
                <a:cubicBezTo>
                  <a:pt x="239839" y="393097"/>
                  <a:pt x="247841" y="391954"/>
                  <a:pt x="255651" y="389573"/>
                </a:cubicBezTo>
                <a:lnTo>
                  <a:pt x="381381" y="351854"/>
                </a:lnTo>
                <a:cubicBezTo>
                  <a:pt x="408241" y="343757"/>
                  <a:pt x="431387" y="326136"/>
                  <a:pt x="446532" y="302800"/>
                </a:cubicBezTo>
                <a:lnTo>
                  <a:pt x="473869" y="302800"/>
                </a:lnTo>
                <a:lnTo>
                  <a:pt x="473869" y="330899"/>
                </a:lnTo>
                <a:lnTo>
                  <a:pt x="559594" y="330899"/>
                </a:lnTo>
                <a:lnTo>
                  <a:pt x="559594" y="292799"/>
                </a:lnTo>
                <a:lnTo>
                  <a:pt x="511969" y="292799"/>
                </a:lnTo>
                <a:lnTo>
                  <a:pt x="511969" y="80582"/>
                </a:lnTo>
                <a:lnTo>
                  <a:pt x="511969" y="73819"/>
                </a:lnTo>
                <a:close/>
                <a:moveTo>
                  <a:pt x="370427" y="315468"/>
                </a:moveTo>
                <a:lnTo>
                  <a:pt x="244697" y="353187"/>
                </a:lnTo>
                <a:cubicBezTo>
                  <a:pt x="233839" y="356426"/>
                  <a:pt x="222314" y="355473"/>
                  <a:pt x="212217" y="350425"/>
                </a:cubicBezTo>
                <a:cubicBezTo>
                  <a:pt x="205074" y="346805"/>
                  <a:pt x="198977" y="341376"/>
                  <a:pt x="194691" y="334613"/>
                </a:cubicBezTo>
                <a:lnTo>
                  <a:pt x="131826" y="235839"/>
                </a:lnTo>
                <a:lnTo>
                  <a:pt x="92869" y="235839"/>
                </a:lnTo>
                <a:lnTo>
                  <a:pt x="92869" y="83439"/>
                </a:lnTo>
                <a:lnTo>
                  <a:pt x="209264" y="83439"/>
                </a:lnTo>
                <a:lnTo>
                  <a:pt x="132683" y="160020"/>
                </a:lnTo>
                <a:lnTo>
                  <a:pt x="156020" y="183547"/>
                </a:lnTo>
                <a:cubicBezTo>
                  <a:pt x="172212" y="199835"/>
                  <a:pt x="193739" y="208788"/>
                  <a:pt x="216694" y="208883"/>
                </a:cubicBezTo>
                <a:cubicBezTo>
                  <a:pt x="216694" y="208883"/>
                  <a:pt x="216694" y="208883"/>
                  <a:pt x="216694" y="208883"/>
                </a:cubicBezTo>
                <a:cubicBezTo>
                  <a:pt x="239649" y="208883"/>
                  <a:pt x="261175" y="199930"/>
                  <a:pt x="277368" y="183642"/>
                </a:cubicBezTo>
                <a:lnTo>
                  <a:pt x="300800" y="160115"/>
                </a:lnTo>
                <a:lnTo>
                  <a:pt x="330327" y="160115"/>
                </a:lnTo>
                <a:lnTo>
                  <a:pt x="413099" y="284321"/>
                </a:lnTo>
                <a:cubicBezTo>
                  <a:pt x="402907" y="298990"/>
                  <a:pt x="387858" y="310229"/>
                  <a:pt x="370427" y="315468"/>
                </a:cubicBezTo>
                <a:close/>
                <a:moveTo>
                  <a:pt x="445961" y="264795"/>
                </a:moveTo>
                <a:lnTo>
                  <a:pt x="350711" y="121920"/>
                </a:lnTo>
                <a:lnTo>
                  <a:pt x="284988" y="121920"/>
                </a:lnTo>
                <a:lnTo>
                  <a:pt x="250412" y="156686"/>
                </a:lnTo>
                <a:cubicBezTo>
                  <a:pt x="241459" y="165735"/>
                  <a:pt x="229458" y="170688"/>
                  <a:pt x="216789" y="170688"/>
                </a:cubicBezTo>
                <a:cubicBezTo>
                  <a:pt x="216789" y="170688"/>
                  <a:pt x="216789" y="170688"/>
                  <a:pt x="216789" y="170688"/>
                </a:cubicBezTo>
                <a:cubicBezTo>
                  <a:pt x="205645" y="170688"/>
                  <a:pt x="195167" y="166878"/>
                  <a:pt x="186690" y="159925"/>
                </a:cubicBezTo>
                <a:lnTo>
                  <a:pt x="274225" y="72390"/>
                </a:lnTo>
                <a:cubicBezTo>
                  <a:pt x="279082" y="67532"/>
                  <a:pt x="285655" y="64770"/>
                  <a:pt x="292608" y="64770"/>
                </a:cubicBezTo>
                <a:lnTo>
                  <a:pt x="374904" y="64770"/>
                </a:lnTo>
                <a:lnTo>
                  <a:pt x="473964" y="106013"/>
                </a:lnTo>
                <a:lnTo>
                  <a:pt x="473964" y="264795"/>
                </a:lnTo>
                <a:lnTo>
                  <a:pt x="445961" y="264795"/>
                </a:lnTo>
                <a:close/>
              </a:path>
            </a:pathLst>
          </a:custGeom>
          <a:solidFill>
            <a:schemeClr val="bg1"/>
          </a:solidFill>
          <a:ln w="9525" cap="flat">
            <a:noFill/>
            <a:prstDash val="solid"/>
            <a:miter/>
          </a:ln>
        </p:spPr>
        <p:txBody>
          <a:bodyPr rtlCol="0" anchor="ctr"/>
          <a:lstStyle/>
          <a:p>
            <a:endParaRPr lang="en-US" sz="1400"/>
          </a:p>
        </p:txBody>
      </p:sp>
      <p:pic>
        <p:nvPicPr>
          <p:cNvPr id="32" name="Graphic 31">
            <a:extLst>
              <a:ext uri="{FF2B5EF4-FFF2-40B4-BE49-F238E27FC236}">
                <a16:creationId xmlns:a16="http://schemas.microsoft.com/office/drawing/2014/main" id="{118F37B1-4AC1-43F1-8125-91F5BABDA9B4}"/>
              </a:ext>
            </a:extLst>
          </p:cNvPr>
          <p:cNvPicPr>
            <a:picLocks noChangeAspect="1"/>
          </p:cNvPicPr>
          <p:nvPr/>
        </p:nvPicPr>
        <p:blipFill>
          <a:blip r:embed="rId10">
            <a:extLst>
              <a:ext uri="{96DAC541-7B7A-43D3-8B79-37D633B846F1}">
                <asvg:svgBlip xmlns="" xmlns:asvg="http://schemas.microsoft.com/office/drawing/2016/SVG/main" r:embed="rId11"/>
              </a:ext>
            </a:extLst>
          </a:blip>
          <a:stretch>
            <a:fillRect/>
          </a:stretch>
        </p:blipFill>
        <p:spPr bwMode="gray">
          <a:xfrm>
            <a:off x="4399855" y="2622396"/>
            <a:ext cx="579642" cy="484909"/>
          </a:xfrm>
          <a:prstGeom prst="rect">
            <a:avLst/>
          </a:prstGeom>
        </p:spPr>
      </p:pic>
      <p:cxnSp>
        <p:nvCxnSpPr>
          <p:cNvPr id="34" name="Connector: Elbow 33">
            <a:extLst>
              <a:ext uri="{FF2B5EF4-FFF2-40B4-BE49-F238E27FC236}">
                <a16:creationId xmlns:a16="http://schemas.microsoft.com/office/drawing/2014/main" id="{26753006-8FED-4E3C-AC85-04E491031668}"/>
              </a:ext>
            </a:extLst>
          </p:cNvPr>
          <p:cNvCxnSpPr>
            <a:cxnSpLocks/>
          </p:cNvCxnSpPr>
          <p:nvPr/>
        </p:nvCxnSpPr>
        <p:spPr>
          <a:xfrm flipV="1">
            <a:off x="6823173" y="1753154"/>
            <a:ext cx="2282594" cy="105137"/>
          </a:xfrm>
          <a:prstGeom prst="bentConnector3">
            <a:avLst/>
          </a:prstGeom>
          <a:ln w="12700">
            <a:solidFill>
              <a:srgbClr val="009AD7"/>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5" name="Connector: Elbow 34">
            <a:extLst>
              <a:ext uri="{FF2B5EF4-FFF2-40B4-BE49-F238E27FC236}">
                <a16:creationId xmlns:a16="http://schemas.microsoft.com/office/drawing/2014/main" id="{4F9A241E-6504-44AB-8A02-9B7441825310}"/>
              </a:ext>
            </a:extLst>
          </p:cNvPr>
          <p:cNvCxnSpPr>
            <a:cxnSpLocks/>
          </p:cNvCxnSpPr>
          <p:nvPr/>
        </p:nvCxnSpPr>
        <p:spPr>
          <a:xfrm>
            <a:off x="8045074" y="3131167"/>
            <a:ext cx="1026856" cy="626465"/>
          </a:xfrm>
          <a:prstGeom prst="bentConnector3">
            <a:avLst>
              <a:gd name="adj1" fmla="val 50000"/>
            </a:avLst>
          </a:prstGeom>
          <a:ln w="12700">
            <a:solidFill>
              <a:srgbClr val="009AD7"/>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6" name="Connector: Elbow 35">
            <a:extLst>
              <a:ext uri="{FF2B5EF4-FFF2-40B4-BE49-F238E27FC236}">
                <a16:creationId xmlns:a16="http://schemas.microsoft.com/office/drawing/2014/main" id="{A1EC937B-2852-4532-A94A-70B45F420557}"/>
              </a:ext>
            </a:extLst>
          </p:cNvPr>
          <p:cNvCxnSpPr>
            <a:cxnSpLocks/>
          </p:cNvCxnSpPr>
          <p:nvPr/>
        </p:nvCxnSpPr>
        <p:spPr>
          <a:xfrm>
            <a:off x="7797717" y="4907006"/>
            <a:ext cx="1238298" cy="495126"/>
          </a:xfrm>
          <a:prstGeom prst="bentConnector3">
            <a:avLst/>
          </a:prstGeom>
          <a:ln w="12700">
            <a:solidFill>
              <a:srgbClr val="009AD7"/>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7" name="Connector: Elbow 36">
            <a:extLst>
              <a:ext uri="{FF2B5EF4-FFF2-40B4-BE49-F238E27FC236}">
                <a16:creationId xmlns:a16="http://schemas.microsoft.com/office/drawing/2014/main" id="{9FC9F2C0-AF65-467F-84B3-D856B3BFFB6A}"/>
              </a:ext>
            </a:extLst>
          </p:cNvPr>
          <p:cNvCxnSpPr>
            <a:cxnSpLocks/>
          </p:cNvCxnSpPr>
          <p:nvPr/>
        </p:nvCxnSpPr>
        <p:spPr>
          <a:xfrm rot="10800000" flipV="1">
            <a:off x="3284662" y="5585952"/>
            <a:ext cx="2189719" cy="114831"/>
          </a:xfrm>
          <a:prstGeom prst="bentConnector3">
            <a:avLst>
              <a:gd name="adj1" fmla="val 50000"/>
            </a:avLst>
          </a:prstGeom>
          <a:ln w="12700">
            <a:solidFill>
              <a:srgbClr val="009AD7"/>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8" name="Connector: Elbow 37">
            <a:extLst>
              <a:ext uri="{FF2B5EF4-FFF2-40B4-BE49-F238E27FC236}">
                <a16:creationId xmlns:a16="http://schemas.microsoft.com/office/drawing/2014/main" id="{68F0ABB0-0B69-46EA-8A90-6A80BD041DB1}"/>
              </a:ext>
            </a:extLst>
          </p:cNvPr>
          <p:cNvCxnSpPr>
            <a:cxnSpLocks/>
          </p:cNvCxnSpPr>
          <p:nvPr/>
        </p:nvCxnSpPr>
        <p:spPr>
          <a:xfrm rot="10800000">
            <a:off x="3243222" y="3883967"/>
            <a:ext cx="970573" cy="610314"/>
          </a:xfrm>
          <a:prstGeom prst="bentConnector3">
            <a:avLst>
              <a:gd name="adj1" fmla="val 74347"/>
            </a:avLst>
          </a:prstGeom>
          <a:ln w="12700">
            <a:solidFill>
              <a:srgbClr val="009AD7"/>
            </a:solidFill>
            <a:prstDash val="dash"/>
            <a:tailEnd type="triangle"/>
          </a:ln>
        </p:spPr>
        <p:style>
          <a:lnRef idx="1">
            <a:schemeClr val="accent1"/>
          </a:lnRef>
          <a:fillRef idx="0">
            <a:schemeClr val="accent1"/>
          </a:fillRef>
          <a:effectRef idx="0">
            <a:schemeClr val="accent1"/>
          </a:effectRef>
          <a:fontRef idx="minor">
            <a:schemeClr val="tx1"/>
          </a:fontRef>
        </p:style>
      </p:cxnSp>
      <p:cxnSp>
        <p:nvCxnSpPr>
          <p:cNvPr id="39" name="Connector: Elbow 38">
            <a:extLst>
              <a:ext uri="{FF2B5EF4-FFF2-40B4-BE49-F238E27FC236}">
                <a16:creationId xmlns:a16="http://schemas.microsoft.com/office/drawing/2014/main" id="{E4AAF5F7-EFBD-4651-844F-CB3952C3C6D3}"/>
              </a:ext>
            </a:extLst>
          </p:cNvPr>
          <p:cNvCxnSpPr>
            <a:cxnSpLocks/>
          </p:cNvCxnSpPr>
          <p:nvPr/>
        </p:nvCxnSpPr>
        <p:spPr>
          <a:xfrm rot="10800000">
            <a:off x="3253321" y="2291771"/>
            <a:ext cx="993273" cy="402751"/>
          </a:xfrm>
          <a:prstGeom prst="bentConnector3">
            <a:avLst/>
          </a:prstGeom>
          <a:ln w="12700">
            <a:solidFill>
              <a:srgbClr val="009AD7"/>
            </a:solidFill>
            <a:prstDash val="dash"/>
            <a:tailEnd type="triangle"/>
          </a:ln>
        </p:spPr>
        <p:style>
          <a:lnRef idx="1">
            <a:schemeClr val="accent1"/>
          </a:lnRef>
          <a:fillRef idx="0">
            <a:schemeClr val="accent1"/>
          </a:fillRef>
          <a:effectRef idx="0">
            <a:schemeClr val="accent1"/>
          </a:effectRef>
          <a:fontRef idx="minor">
            <a:schemeClr val="tx1"/>
          </a:fontRef>
        </p:style>
      </p:cxnSp>
      <p:pic>
        <p:nvPicPr>
          <p:cNvPr id="41" name="Graphic 40" descr="Hierarchy">
            <a:extLst>
              <a:ext uri="{FF2B5EF4-FFF2-40B4-BE49-F238E27FC236}">
                <a16:creationId xmlns:a16="http://schemas.microsoft.com/office/drawing/2014/main" id="{6839A7B8-5257-4865-A5D2-21055F5AD503}"/>
              </a:ext>
            </a:extLst>
          </p:cNvPr>
          <p:cNvPicPr>
            <a:picLocks noChangeAspect="1"/>
          </p:cNvPicPr>
          <p:nvPr/>
        </p:nvPicPr>
        <p:blipFill>
          <a:blip r:embed="rId12">
            <a:extLst>
              <a:ext uri="{96DAC541-7B7A-43D3-8B79-37D633B846F1}">
                <asvg:svgBlip xmlns="" xmlns:asvg="http://schemas.microsoft.com/office/drawing/2016/SVG/main" r:embed="rId13"/>
              </a:ext>
            </a:extLst>
          </a:blip>
          <a:stretch>
            <a:fillRect/>
          </a:stretch>
        </p:blipFill>
        <p:spPr>
          <a:xfrm>
            <a:off x="5787994" y="4743658"/>
            <a:ext cx="614815" cy="624548"/>
          </a:xfrm>
          <a:prstGeom prst="rect">
            <a:avLst/>
          </a:prstGeom>
        </p:spPr>
      </p:pic>
      <p:sp>
        <p:nvSpPr>
          <p:cNvPr id="40" name="TextBox 39">
            <a:extLst>
              <a:ext uri="{FF2B5EF4-FFF2-40B4-BE49-F238E27FC236}">
                <a16:creationId xmlns:a16="http://schemas.microsoft.com/office/drawing/2014/main" id="{F75391ED-4698-4247-92F9-CF8021E56F22}"/>
              </a:ext>
            </a:extLst>
          </p:cNvPr>
          <p:cNvSpPr txBox="1"/>
          <p:nvPr/>
        </p:nvSpPr>
        <p:spPr>
          <a:xfrm>
            <a:off x="3669707" y="1406289"/>
            <a:ext cx="4866321" cy="4192032"/>
          </a:xfrm>
          <a:prstGeom prst="rect">
            <a:avLst/>
          </a:prstGeom>
          <a:noFill/>
        </p:spPr>
        <p:txBody>
          <a:bodyPr vert="horz" wrap="square" lIns="0" tIns="0" rIns="0" bIns="0" rtlCol="0">
            <a:prstTxWarp prst="textArchUp">
              <a:avLst>
                <a:gd name="adj" fmla="val 12011827"/>
              </a:avLst>
            </a:prstTxWarp>
            <a:spAutoFit/>
          </a:bodyPr>
          <a:lstStyle/>
          <a:p>
            <a:pPr algn="ctr"/>
            <a:r>
              <a:rPr lang="en-US" sz="1200" b="1" dirty="0" smtClean="0"/>
              <a:t>Quality</a:t>
            </a:r>
            <a:endParaRPr lang="en-US" sz="1200" b="1" dirty="0"/>
          </a:p>
        </p:txBody>
      </p:sp>
      <p:sp>
        <p:nvSpPr>
          <p:cNvPr id="42" name="TextBox 41">
            <a:extLst>
              <a:ext uri="{FF2B5EF4-FFF2-40B4-BE49-F238E27FC236}">
                <a16:creationId xmlns:a16="http://schemas.microsoft.com/office/drawing/2014/main" id="{AABA254D-7625-4852-9884-D85EBD89992C}"/>
              </a:ext>
            </a:extLst>
          </p:cNvPr>
          <p:cNvSpPr txBox="1"/>
          <p:nvPr/>
        </p:nvSpPr>
        <p:spPr>
          <a:xfrm rot="8450097">
            <a:off x="3089580" y="800971"/>
            <a:ext cx="5607607" cy="5412609"/>
          </a:xfrm>
          <a:prstGeom prst="rect">
            <a:avLst/>
          </a:prstGeom>
          <a:noFill/>
        </p:spPr>
        <p:txBody>
          <a:bodyPr vert="horz" wrap="square" lIns="0" tIns="0" rIns="0" bIns="0" rtlCol="0">
            <a:prstTxWarp prst="textArchUp">
              <a:avLst>
                <a:gd name="adj" fmla="val 9782617"/>
              </a:avLst>
            </a:prstTxWarp>
            <a:spAutoFit/>
          </a:bodyPr>
          <a:lstStyle/>
          <a:p>
            <a:pPr algn="ctr"/>
            <a:r>
              <a:rPr lang="en-US" sz="1200" b="1" dirty="0" smtClean="0"/>
              <a:t>Input</a:t>
            </a:r>
            <a:endParaRPr lang="en-US" sz="1200" b="1" dirty="0"/>
          </a:p>
        </p:txBody>
      </p:sp>
    </p:spTree>
    <p:extLst>
      <p:ext uri="{BB962C8B-B14F-4D97-AF65-F5344CB8AC3E}">
        <p14:creationId xmlns:p14="http://schemas.microsoft.com/office/powerpoint/2010/main" val="28544465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6" name="Object 395" hidden="1">
            <a:extLst>
              <a:ext uri="{FF2B5EF4-FFF2-40B4-BE49-F238E27FC236}">
                <a16:creationId xmlns:a16="http://schemas.microsoft.com/office/drawing/2014/main" id="{6BB23D97-C0E3-459C-B150-FD7002B58156}"/>
              </a:ext>
            </a:extLst>
          </p:cNvPr>
          <p:cNvGraphicFramePr>
            <a:graphicFrameLocks noChangeAspect="1"/>
          </p:cNvGraphicFramePr>
          <p:nvPr>
            <p:custDataLst>
              <p:tags r:id="rId2"/>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122" name="think-cell Slide" r:id="rId4" imgW="473" imgH="473" progId="TCLayout.ActiveDocument.1">
                  <p:embed/>
                </p:oleObj>
              </mc:Choice>
              <mc:Fallback>
                <p:oleObj name="think-cell Slide" r:id="rId4" imgW="473" imgH="473" progId="TCLayout.ActiveDocument.1">
                  <p:embed/>
                  <p:pic>
                    <p:nvPicPr>
                      <p:cNvPr id="396" name="Object 395" hidden="1">
                        <a:extLst>
                          <a:ext uri="{FF2B5EF4-FFF2-40B4-BE49-F238E27FC236}">
                            <a16:creationId xmlns:a16="http://schemas.microsoft.com/office/drawing/2014/main" id="{6BB23D97-C0E3-459C-B150-FD7002B5815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2C3FBD8-4BB3-4724-92BF-6CCAA821E7C7}"/>
              </a:ext>
            </a:extLst>
          </p:cNvPr>
          <p:cNvSpPr>
            <a:spLocks noGrp="1"/>
          </p:cNvSpPr>
          <p:nvPr>
            <p:ph type="title"/>
          </p:nvPr>
        </p:nvSpPr>
        <p:spPr/>
        <p:txBody>
          <a:bodyPr vert="horz"/>
          <a:lstStyle/>
          <a:p>
            <a:r>
              <a:rPr lang="en-IE" sz="3600" dirty="0"/>
              <a:t>Methodological </a:t>
            </a:r>
            <a:r>
              <a:rPr lang="en-IE" sz="3600" dirty="0" smtClean="0"/>
              <a:t>challenges : (1) input </a:t>
            </a:r>
            <a:endParaRPr lang="en-BE" sz="3600" dirty="0"/>
          </a:p>
        </p:txBody>
      </p:sp>
      <p:sp>
        <p:nvSpPr>
          <p:cNvPr id="198" name="Title 2">
            <a:extLst>
              <a:ext uri="{FF2B5EF4-FFF2-40B4-BE49-F238E27FC236}">
                <a16:creationId xmlns:a16="http://schemas.microsoft.com/office/drawing/2014/main" id="{23244ED8-DB00-4F01-B1C3-58D5A73B0EE9}"/>
              </a:ext>
            </a:extLst>
          </p:cNvPr>
          <p:cNvSpPr txBox="1">
            <a:spLocks/>
          </p:cNvSpPr>
          <p:nvPr/>
        </p:nvSpPr>
        <p:spPr>
          <a:xfrm>
            <a:off x="457200" y="366713"/>
            <a:ext cx="11276013" cy="443198"/>
          </a:xfrm>
          <a:prstGeom prst="rect">
            <a:avLst/>
          </a:prstGeom>
        </p:spPr>
        <p:txBody>
          <a:bodyPr vert="horz" lIns="0" tIns="0" rIns="0" bIns="0" rtlCol="0" anchor="t" anchorCtr="0">
            <a:noAutofit/>
          </a:bodyPr>
          <a:lstStyle>
            <a:lvl1pPr algn="l" defTabSz="914400" rtl="0" eaLnBrk="1" latinLnBrk="0" hangingPunct="1">
              <a:lnSpc>
                <a:spcPct val="90000"/>
              </a:lnSpc>
              <a:spcBef>
                <a:spcPts val="0"/>
              </a:spcBef>
              <a:spcAft>
                <a:spcPts val="1200"/>
              </a:spcAft>
              <a:buNone/>
              <a:defRPr sz="3200" kern="1200">
                <a:solidFill>
                  <a:schemeClr val="tx2"/>
                </a:solidFill>
                <a:latin typeface="+mj-lt"/>
                <a:ea typeface="+mj-ea"/>
                <a:cs typeface="+mj-cs"/>
              </a:defRPr>
            </a:lvl1pPr>
          </a:lstStyle>
          <a:p>
            <a:endParaRPr lang="en-BE"/>
          </a:p>
        </p:txBody>
      </p:sp>
      <p:sp>
        <p:nvSpPr>
          <p:cNvPr id="199" name="TextBox 198">
            <a:extLst>
              <a:ext uri="{FF2B5EF4-FFF2-40B4-BE49-F238E27FC236}">
                <a16:creationId xmlns:a16="http://schemas.microsoft.com/office/drawing/2014/main" id="{586A2C6A-98F0-4546-A582-077FE8F9B2BC}"/>
              </a:ext>
            </a:extLst>
          </p:cNvPr>
          <p:cNvSpPr txBox="1"/>
          <p:nvPr/>
        </p:nvSpPr>
        <p:spPr>
          <a:xfrm>
            <a:off x="1762550" y="1585583"/>
            <a:ext cx="2050561" cy="400110"/>
          </a:xfrm>
          <a:prstGeom prst="rect">
            <a:avLst/>
          </a:prstGeom>
          <a:noFill/>
          <a:ln>
            <a:noFill/>
          </a:ln>
        </p:spPr>
        <p:txBody>
          <a:bodyPr wrap="none" rtlCol="0">
            <a:spAutoFit/>
          </a:bodyPr>
          <a:lstStyle/>
          <a:p>
            <a:pPr algn="ctr" defTabSz="742950">
              <a:defRPr/>
            </a:pPr>
            <a:r>
              <a:rPr lang="en-BE" sz="2000" b="1" kern="0" dirty="0">
                <a:solidFill>
                  <a:srgbClr val="00254C"/>
                </a:solidFill>
              </a:rPr>
              <a:t>1. </a:t>
            </a:r>
            <a:r>
              <a:rPr lang="en-IE" sz="2000" b="1" kern="0" dirty="0" smtClean="0">
                <a:solidFill>
                  <a:srgbClr val="00254C"/>
                </a:solidFill>
              </a:rPr>
              <a:t>New sources</a:t>
            </a:r>
            <a:endParaRPr lang="en-BE" sz="2000" b="1" kern="0" dirty="0">
              <a:solidFill>
                <a:srgbClr val="00254C"/>
              </a:solidFill>
            </a:endParaRPr>
          </a:p>
        </p:txBody>
      </p:sp>
      <p:sp>
        <p:nvSpPr>
          <p:cNvPr id="200" name="TextBox 199">
            <a:extLst>
              <a:ext uri="{FF2B5EF4-FFF2-40B4-BE49-F238E27FC236}">
                <a16:creationId xmlns:a16="http://schemas.microsoft.com/office/drawing/2014/main" id="{19540246-EEC1-4560-B685-F7A3928F2692}"/>
              </a:ext>
            </a:extLst>
          </p:cNvPr>
          <p:cNvSpPr txBox="1"/>
          <p:nvPr/>
        </p:nvSpPr>
        <p:spPr>
          <a:xfrm>
            <a:off x="776377" y="2012239"/>
            <a:ext cx="4137105" cy="923330"/>
          </a:xfrm>
          <a:prstGeom prst="rect">
            <a:avLst/>
          </a:prstGeom>
          <a:noFill/>
          <a:ln>
            <a:noFill/>
          </a:ln>
        </p:spPr>
        <p:txBody>
          <a:bodyPr wrap="square" rtlCol="0">
            <a:spAutoFit/>
          </a:bodyPr>
          <a:lstStyle/>
          <a:p>
            <a:pPr lvl="1" fontAlgn="base">
              <a:spcAft>
                <a:spcPct val="0"/>
              </a:spcAft>
              <a:buClr>
                <a:srgbClr val="00529B"/>
              </a:buClr>
              <a:buSzPct val="100000"/>
            </a:pPr>
            <a:r>
              <a:rPr lang="en-IE" dirty="0"/>
              <a:t>Information retrieval from unstructured data (image, textual, signal, smart devices, </a:t>
            </a:r>
            <a:r>
              <a:rPr lang="en-IE" dirty="0" err="1"/>
              <a:t>IoT</a:t>
            </a:r>
            <a:r>
              <a:rPr lang="en-IE" dirty="0"/>
              <a:t>) </a:t>
            </a:r>
            <a:endParaRPr lang="en-BE" dirty="0"/>
          </a:p>
        </p:txBody>
      </p:sp>
      <p:grpSp>
        <p:nvGrpSpPr>
          <p:cNvPr id="209" name="Group 208">
            <a:extLst>
              <a:ext uri="{FF2B5EF4-FFF2-40B4-BE49-F238E27FC236}">
                <a16:creationId xmlns:a16="http://schemas.microsoft.com/office/drawing/2014/main" id="{B6E56B7A-3AC5-43C0-9A20-2CA992729120}"/>
              </a:ext>
            </a:extLst>
          </p:cNvPr>
          <p:cNvGrpSpPr>
            <a:grpSpLocks noChangeAspect="1"/>
          </p:cNvGrpSpPr>
          <p:nvPr/>
        </p:nvGrpSpPr>
        <p:grpSpPr>
          <a:xfrm>
            <a:off x="2766402" y="3290490"/>
            <a:ext cx="1658415" cy="1658415"/>
            <a:chOff x="601033" y="2855912"/>
            <a:chExt cx="2041126" cy="2041126"/>
          </a:xfrm>
        </p:grpSpPr>
        <p:sp>
          <p:nvSpPr>
            <p:cNvPr id="210" name="Circle: Hollow 151">
              <a:extLst>
                <a:ext uri="{FF2B5EF4-FFF2-40B4-BE49-F238E27FC236}">
                  <a16:creationId xmlns:a16="http://schemas.microsoft.com/office/drawing/2014/main" id="{EA0FBA5C-CDF7-43AF-B1F1-583DF48F9F7C}"/>
                </a:ext>
              </a:extLst>
            </p:cNvPr>
            <p:cNvSpPr>
              <a:spLocks noChangeAspect="1"/>
            </p:cNvSpPr>
            <p:nvPr/>
          </p:nvSpPr>
          <p:spPr>
            <a:xfrm>
              <a:off x="763241" y="3018120"/>
              <a:ext cx="1716710" cy="1716710"/>
            </a:xfrm>
            <a:prstGeom prst="donut">
              <a:avLst>
                <a:gd name="adj" fmla="val 7139"/>
              </a:avLst>
            </a:prstGeom>
            <a:solidFill>
              <a:srgbClr val="00254C"/>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11" name="Group 210">
              <a:extLst>
                <a:ext uri="{FF2B5EF4-FFF2-40B4-BE49-F238E27FC236}">
                  <a16:creationId xmlns:a16="http://schemas.microsoft.com/office/drawing/2014/main" id="{D40665D1-DF90-49CB-9074-BFBEF482EA78}"/>
                </a:ext>
              </a:extLst>
            </p:cNvPr>
            <p:cNvGrpSpPr/>
            <p:nvPr/>
          </p:nvGrpSpPr>
          <p:grpSpPr>
            <a:xfrm>
              <a:off x="1534076" y="2855912"/>
              <a:ext cx="175040" cy="2041126"/>
              <a:chOff x="8229799" y="2768458"/>
              <a:chExt cx="175040" cy="2041126"/>
            </a:xfrm>
            <a:solidFill>
              <a:srgbClr val="00254C"/>
            </a:solidFill>
          </p:grpSpPr>
          <p:sp>
            <p:nvSpPr>
              <p:cNvPr id="228" name="Trapezoid 227">
                <a:extLst>
                  <a:ext uri="{FF2B5EF4-FFF2-40B4-BE49-F238E27FC236}">
                    <a16:creationId xmlns:a16="http://schemas.microsoft.com/office/drawing/2014/main" id="{1FC99CE9-3E7F-454D-A6EC-767976D2B58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9" name="Trapezoid 228">
                <a:extLst>
                  <a:ext uri="{FF2B5EF4-FFF2-40B4-BE49-F238E27FC236}">
                    <a16:creationId xmlns:a16="http://schemas.microsoft.com/office/drawing/2014/main" id="{9082AC46-FF41-48D0-9699-FCE371890F2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2" name="Group 211">
              <a:extLst>
                <a:ext uri="{FF2B5EF4-FFF2-40B4-BE49-F238E27FC236}">
                  <a16:creationId xmlns:a16="http://schemas.microsoft.com/office/drawing/2014/main" id="{8E7551BA-1D05-4997-B9AA-B8910209EF46}"/>
                </a:ext>
              </a:extLst>
            </p:cNvPr>
            <p:cNvGrpSpPr/>
            <p:nvPr/>
          </p:nvGrpSpPr>
          <p:grpSpPr>
            <a:xfrm rot="5400000">
              <a:off x="1534076" y="2855912"/>
              <a:ext cx="175040" cy="2041126"/>
              <a:chOff x="8229799" y="2768458"/>
              <a:chExt cx="175040" cy="2041126"/>
            </a:xfrm>
            <a:solidFill>
              <a:srgbClr val="00254C"/>
            </a:solidFill>
          </p:grpSpPr>
          <p:sp>
            <p:nvSpPr>
              <p:cNvPr id="226" name="Trapezoid 225">
                <a:extLst>
                  <a:ext uri="{FF2B5EF4-FFF2-40B4-BE49-F238E27FC236}">
                    <a16:creationId xmlns:a16="http://schemas.microsoft.com/office/drawing/2014/main" id="{3CBC6AB7-E860-451A-A5B3-3E3F2616745E}"/>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7" name="Trapezoid 226">
                <a:extLst>
                  <a:ext uri="{FF2B5EF4-FFF2-40B4-BE49-F238E27FC236}">
                    <a16:creationId xmlns:a16="http://schemas.microsoft.com/office/drawing/2014/main" id="{82B44A42-7F23-4BF9-BD5C-6C9CD70925B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3" name="Group 212">
              <a:extLst>
                <a:ext uri="{FF2B5EF4-FFF2-40B4-BE49-F238E27FC236}">
                  <a16:creationId xmlns:a16="http://schemas.microsoft.com/office/drawing/2014/main" id="{7616840E-4CB8-42B9-95DA-C617F404C528}"/>
                </a:ext>
              </a:extLst>
            </p:cNvPr>
            <p:cNvGrpSpPr/>
            <p:nvPr/>
          </p:nvGrpSpPr>
          <p:grpSpPr>
            <a:xfrm rot="1800000">
              <a:off x="1534077" y="2855912"/>
              <a:ext cx="175040" cy="2041126"/>
              <a:chOff x="8229799" y="2768458"/>
              <a:chExt cx="175040" cy="2041126"/>
            </a:xfrm>
            <a:solidFill>
              <a:srgbClr val="00254C"/>
            </a:solidFill>
          </p:grpSpPr>
          <p:sp>
            <p:nvSpPr>
              <p:cNvPr id="224" name="Trapezoid 223">
                <a:extLst>
                  <a:ext uri="{FF2B5EF4-FFF2-40B4-BE49-F238E27FC236}">
                    <a16:creationId xmlns:a16="http://schemas.microsoft.com/office/drawing/2014/main" id="{91B9F5B1-D96A-465A-8C70-D4C69BF77D7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5" name="Trapezoid 224">
                <a:extLst>
                  <a:ext uri="{FF2B5EF4-FFF2-40B4-BE49-F238E27FC236}">
                    <a16:creationId xmlns:a16="http://schemas.microsoft.com/office/drawing/2014/main" id="{F46BA6AA-F43E-4285-97A4-E9F61A52CA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4" name="Group 213">
              <a:extLst>
                <a:ext uri="{FF2B5EF4-FFF2-40B4-BE49-F238E27FC236}">
                  <a16:creationId xmlns:a16="http://schemas.microsoft.com/office/drawing/2014/main" id="{3D4437D7-8847-4A86-A548-C94E45809C5E}"/>
                </a:ext>
              </a:extLst>
            </p:cNvPr>
            <p:cNvGrpSpPr/>
            <p:nvPr/>
          </p:nvGrpSpPr>
          <p:grpSpPr>
            <a:xfrm rot="3600000">
              <a:off x="1534076" y="2855913"/>
              <a:ext cx="175040" cy="2041126"/>
              <a:chOff x="8229799" y="2768458"/>
              <a:chExt cx="175040" cy="2041126"/>
            </a:xfrm>
            <a:solidFill>
              <a:srgbClr val="00254C"/>
            </a:solidFill>
          </p:grpSpPr>
          <p:sp>
            <p:nvSpPr>
              <p:cNvPr id="222" name="Trapezoid 221">
                <a:extLst>
                  <a:ext uri="{FF2B5EF4-FFF2-40B4-BE49-F238E27FC236}">
                    <a16:creationId xmlns:a16="http://schemas.microsoft.com/office/drawing/2014/main" id="{8868CE96-08CD-4898-88A6-D5731259C02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3" name="Trapezoid 222">
                <a:extLst>
                  <a:ext uri="{FF2B5EF4-FFF2-40B4-BE49-F238E27FC236}">
                    <a16:creationId xmlns:a16="http://schemas.microsoft.com/office/drawing/2014/main" id="{51702920-CDBF-44D7-8C98-CB010C07159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5" name="Group 214">
              <a:extLst>
                <a:ext uri="{FF2B5EF4-FFF2-40B4-BE49-F238E27FC236}">
                  <a16:creationId xmlns:a16="http://schemas.microsoft.com/office/drawing/2014/main" id="{9E726E68-EA77-4B23-9EFE-7A77EEE51B60}"/>
                </a:ext>
              </a:extLst>
            </p:cNvPr>
            <p:cNvGrpSpPr/>
            <p:nvPr/>
          </p:nvGrpSpPr>
          <p:grpSpPr>
            <a:xfrm rot="7200000">
              <a:off x="1534076" y="2855913"/>
              <a:ext cx="175040" cy="2041126"/>
              <a:chOff x="8229799" y="2768458"/>
              <a:chExt cx="175040" cy="2041126"/>
            </a:xfrm>
            <a:solidFill>
              <a:srgbClr val="00254C"/>
            </a:solidFill>
          </p:grpSpPr>
          <p:sp>
            <p:nvSpPr>
              <p:cNvPr id="220" name="Trapezoid 219">
                <a:extLst>
                  <a:ext uri="{FF2B5EF4-FFF2-40B4-BE49-F238E27FC236}">
                    <a16:creationId xmlns:a16="http://schemas.microsoft.com/office/drawing/2014/main" id="{3599D55E-3831-4859-BAFF-868F2BC029C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21" name="Trapezoid 220">
                <a:extLst>
                  <a:ext uri="{FF2B5EF4-FFF2-40B4-BE49-F238E27FC236}">
                    <a16:creationId xmlns:a16="http://schemas.microsoft.com/office/drawing/2014/main" id="{47DDC634-46E1-4D14-A241-2B0D3E02ADEA}"/>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16" name="Group 215">
              <a:extLst>
                <a:ext uri="{FF2B5EF4-FFF2-40B4-BE49-F238E27FC236}">
                  <a16:creationId xmlns:a16="http://schemas.microsoft.com/office/drawing/2014/main" id="{BC32F345-79D6-4B0C-8AA7-B79544576FB8}"/>
                </a:ext>
              </a:extLst>
            </p:cNvPr>
            <p:cNvGrpSpPr/>
            <p:nvPr/>
          </p:nvGrpSpPr>
          <p:grpSpPr>
            <a:xfrm rot="9000000">
              <a:off x="1534077" y="2855912"/>
              <a:ext cx="175040" cy="2041126"/>
              <a:chOff x="8229799" y="2768458"/>
              <a:chExt cx="175040" cy="2041126"/>
            </a:xfrm>
            <a:solidFill>
              <a:srgbClr val="00254C"/>
            </a:solidFill>
          </p:grpSpPr>
          <p:sp>
            <p:nvSpPr>
              <p:cNvPr id="218" name="Trapezoid 217">
                <a:extLst>
                  <a:ext uri="{FF2B5EF4-FFF2-40B4-BE49-F238E27FC236}">
                    <a16:creationId xmlns:a16="http://schemas.microsoft.com/office/drawing/2014/main" id="{4426F5B0-6EF1-4AFD-82F7-841E07CF29F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19" name="Trapezoid 218">
                <a:extLst>
                  <a:ext uri="{FF2B5EF4-FFF2-40B4-BE49-F238E27FC236}">
                    <a16:creationId xmlns:a16="http://schemas.microsoft.com/office/drawing/2014/main" id="{5E91476C-D3E1-4592-9AF2-63D20919182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17" name="Oval 216">
              <a:extLst>
                <a:ext uri="{FF2B5EF4-FFF2-40B4-BE49-F238E27FC236}">
                  <a16:creationId xmlns:a16="http://schemas.microsoft.com/office/drawing/2014/main" id="{9AF38D8F-A717-4C0B-B32E-DB4B315117A8}"/>
                </a:ext>
              </a:extLst>
            </p:cNvPr>
            <p:cNvSpPr>
              <a:spLocks noChangeAspect="1"/>
            </p:cNvSpPr>
            <p:nvPr/>
          </p:nvSpPr>
          <p:spPr>
            <a:xfrm>
              <a:off x="915182" y="3175845"/>
              <a:ext cx="1408186" cy="1408186"/>
            </a:xfrm>
            <a:prstGeom prst="ellipse">
              <a:avLst/>
            </a:prstGeom>
            <a:solidFill>
              <a:srgbClr val="FFFFFF"/>
            </a:solidFill>
            <a:ln w="76200" cap="flat" cmpd="sng" algn="ctr">
              <a:solidFill>
                <a:srgbClr val="00254C">
                  <a:lumMod val="75000"/>
                  <a:lumOff val="2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254C"/>
                </a:solidFill>
                <a:effectLst/>
                <a:uLnTx/>
                <a:uFillTx/>
                <a:latin typeface="Arial"/>
                <a:ea typeface="Arial Unicode MS"/>
                <a:cs typeface="Arial Unicode MS"/>
              </a:endParaRPr>
            </a:p>
          </p:txBody>
        </p:sp>
      </p:grpSp>
      <p:grpSp>
        <p:nvGrpSpPr>
          <p:cNvPr id="230" name="Group 229">
            <a:extLst>
              <a:ext uri="{FF2B5EF4-FFF2-40B4-BE49-F238E27FC236}">
                <a16:creationId xmlns:a16="http://schemas.microsoft.com/office/drawing/2014/main" id="{3A2446FB-B143-44CD-B59C-6F04C8CCD3BF}"/>
              </a:ext>
            </a:extLst>
          </p:cNvPr>
          <p:cNvGrpSpPr/>
          <p:nvPr/>
        </p:nvGrpSpPr>
        <p:grpSpPr>
          <a:xfrm>
            <a:off x="4016597" y="3290490"/>
            <a:ext cx="1658415" cy="1658415"/>
            <a:chOff x="2955023" y="2855911"/>
            <a:chExt cx="2041126" cy="2041126"/>
          </a:xfrm>
        </p:grpSpPr>
        <p:sp>
          <p:nvSpPr>
            <p:cNvPr id="231" name="Circle: Hollow 322">
              <a:extLst>
                <a:ext uri="{FF2B5EF4-FFF2-40B4-BE49-F238E27FC236}">
                  <a16:creationId xmlns:a16="http://schemas.microsoft.com/office/drawing/2014/main" id="{E43ACC71-FAE3-4901-85E2-511C25446312}"/>
                </a:ext>
              </a:extLst>
            </p:cNvPr>
            <p:cNvSpPr>
              <a:spLocks noChangeAspect="1"/>
            </p:cNvSpPr>
            <p:nvPr/>
          </p:nvSpPr>
          <p:spPr>
            <a:xfrm>
              <a:off x="3117231" y="3018119"/>
              <a:ext cx="1716710" cy="1716710"/>
            </a:xfrm>
            <a:prstGeom prst="donut">
              <a:avLst>
                <a:gd name="adj" fmla="val 7139"/>
              </a:avLst>
            </a:prstGeom>
            <a:solidFill>
              <a:srgbClr val="00529B"/>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32" name="Group 231">
              <a:extLst>
                <a:ext uri="{FF2B5EF4-FFF2-40B4-BE49-F238E27FC236}">
                  <a16:creationId xmlns:a16="http://schemas.microsoft.com/office/drawing/2014/main" id="{500F63EA-84CC-4F49-9E44-B06E40C0FB62}"/>
                </a:ext>
              </a:extLst>
            </p:cNvPr>
            <p:cNvGrpSpPr/>
            <p:nvPr/>
          </p:nvGrpSpPr>
          <p:grpSpPr>
            <a:xfrm>
              <a:off x="3888066" y="2855911"/>
              <a:ext cx="175040" cy="2041126"/>
              <a:chOff x="8229799" y="2768458"/>
              <a:chExt cx="175040" cy="2041126"/>
            </a:xfrm>
            <a:solidFill>
              <a:srgbClr val="00529B"/>
            </a:solidFill>
          </p:grpSpPr>
          <p:sp>
            <p:nvSpPr>
              <p:cNvPr id="249" name="Trapezoid 248">
                <a:extLst>
                  <a:ext uri="{FF2B5EF4-FFF2-40B4-BE49-F238E27FC236}">
                    <a16:creationId xmlns:a16="http://schemas.microsoft.com/office/drawing/2014/main" id="{1BBC0C25-3A97-43E2-BE25-C667BC5B938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50" name="Trapezoid 249">
                <a:extLst>
                  <a:ext uri="{FF2B5EF4-FFF2-40B4-BE49-F238E27FC236}">
                    <a16:creationId xmlns:a16="http://schemas.microsoft.com/office/drawing/2014/main" id="{CE8C03ED-A662-4262-AFEB-C1BCFA58C00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3" name="Group 232">
              <a:extLst>
                <a:ext uri="{FF2B5EF4-FFF2-40B4-BE49-F238E27FC236}">
                  <a16:creationId xmlns:a16="http://schemas.microsoft.com/office/drawing/2014/main" id="{02DD4821-9EC6-4C48-8991-F82D301D3D6C}"/>
                </a:ext>
              </a:extLst>
            </p:cNvPr>
            <p:cNvGrpSpPr/>
            <p:nvPr/>
          </p:nvGrpSpPr>
          <p:grpSpPr>
            <a:xfrm rot="5400000">
              <a:off x="3888066" y="2855911"/>
              <a:ext cx="175040" cy="2041126"/>
              <a:chOff x="8229799" y="2768458"/>
              <a:chExt cx="175040" cy="2041126"/>
            </a:xfrm>
            <a:solidFill>
              <a:srgbClr val="00529B"/>
            </a:solidFill>
          </p:grpSpPr>
          <p:sp>
            <p:nvSpPr>
              <p:cNvPr id="247" name="Trapezoid 246">
                <a:extLst>
                  <a:ext uri="{FF2B5EF4-FFF2-40B4-BE49-F238E27FC236}">
                    <a16:creationId xmlns:a16="http://schemas.microsoft.com/office/drawing/2014/main" id="{B276D4BD-AA9A-4CB3-BA95-0B88FFE2374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8" name="Trapezoid 247">
                <a:extLst>
                  <a:ext uri="{FF2B5EF4-FFF2-40B4-BE49-F238E27FC236}">
                    <a16:creationId xmlns:a16="http://schemas.microsoft.com/office/drawing/2014/main" id="{F1890FF8-9DEE-478F-9A6F-35E80668E289}"/>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4" name="Group 233">
              <a:extLst>
                <a:ext uri="{FF2B5EF4-FFF2-40B4-BE49-F238E27FC236}">
                  <a16:creationId xmlns:a16="http://schemas.microsoft.com/office/drawing/2014/main" id="{14CE34E0-89BE-480D-AC51-4E8E49C40491}"/>
                </a:ext>
              </a:extLst>
            </p:cNvPr>
            <p:cNvGrpSpPr/>
            <p:nvPr/>
          </p:nvGrpSpPr>
          <p:grpSpPr>
            <a:xfrm rot="1800000">
              <a:off x="3888067" y="2855911"/>
              <a:ext cx="175040" cy="2041126"/>
              <a:chOff x="8229799" y="2768458"/>
              <a:chExt cx="175040" cy="2041126"/>
            </a:xfrm>
            <a:solidFill>
              <a:srgbClr val="00529B"/>
            </a:solidFill>
          </p:grpSpPr>
          <p:sp>
            <p:nvSpPr>
              <p:cNvPr id="245" name="Trapezoid 244">
                <a:extLst>
                  <a:ext uri="{FF2B5EF4-FFF2-40B4-BE49-F238E27FC236}">
                    <a16:creationId xmlns:a16="http://schemas.microsoft.com/office/drawing/2014/main" id="{04A1AEB4-BCA5-45AD-A899-A458323FD35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6" name="Trapezoid 245">
                <a:extLst>
                  <a:ext uri="{FF2B5EF4-FFF2-40B4-BE49-F238E27FC236}">
                    <a16:creationId xmlns:a16="http://schemas.microsoft.com/office/drawing/2014/main" id="{C71157F0-88C6-4A4E-9757-739346DD5B44}"/>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5" name="Group 234">
              <a:extLst>
                <a:ext uri="{FF2B5EF4-FFF2-40B4-BE49-F238E27FC236}">
                  <a16:creationId xmlns:a16="http://schemas.microsoft.com/office/drawing/2014/main" id="{802A2F80-3F2D-43C8-8B24-ECBF301651B8}"/>
                </a:ext>
              </a:extLst>
            </p:cNvPr>
            <p:cNvGrpSpPr/>
            <p:nvPr/>
          </p:nvGrpSpPr>
          <p:grpSpPr>
            <a:xfrm rot="3600000">
              <a:off x="3888066" y="2855912"/>
              <a:ext cx="175040" cy="2041126"/>
              <a:chOff x="8229799" y="2768458"/>
              <a:chExt cx="175040" cy="2041126"/>
            </a:xfrm>
            <a:solidFill>
              <a:srgbClr val="00529B"/>
            </a:solidFill>
          </p:grpSpPr>
          <p:sp>
            <p:nvSpPr>
              <p:cNvPr id="243" name="Trapezoid 242">
                <a:extLst>
                  <a:ext uri="{FF2B5EF4-FFF2-40B4-BE49-F238E27FC236}">
                    <a16:creationId xmlns:a16="http://schemas.microsoft.com/office/drawing/2014/main" id="{1E506D08-A5AD-4CCA-A27C-DB25771BC1E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4" name="Trapezoid 243">
                <a:extLst>
                  <a:ext uri="{FF2B5EF4-FFF2-40B4-BE49-F238E27FC236}">
                    <a16:creationId xmlns:a16="http://schemas.microsoft.com/office/drawing/2014/main" id="{D8343261-DCA5-4E46-BD7D-B175F6F4CF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6" name="Group 235">
              <a:extLst>
                <a:ext uri="{FF2B5EF4-FFF2-40B4-BE49-F238E27FC236}">
                  <a16:creationId xmlns:a16="http://schemas.microsoft.com/office/drawing/2014/main" id="{D148AE05-0E17-4FA1-82BE-67B00486F837}"/>
                </a:ext>
              </a:extLst>
            </p:cNvPr>
            <p:cNvGrpSpPr/>
            <p:nvPr/>
          </p:nvGrpSpPr>
          <p:grpSpPr>
            <a:xfrm rot="7200000">
              <a:off x="3888066" y="2855912"/>
              <a:ext cx="175040" cy="2041126"/>
              <a:chOff x="8229799" y="2768458"/>
              <a:chExt cx="175040" cy="2041126"/>
            </a:xfrm>
            <a:solidFill>
              <a:srgbClr val="00529B"/>
            </a:solidFill>
          </p:grpSpPr>
          <p:sp>
            <p:nvSpPr>
              <p:cNvPr id="241" name="Trapezoid 240">
                <a:extLst>
                  <a:ext uri="{FF2B5EF4-FFF2-40B4-BE49-F238E27FC236}">
                    <a16:creationId xmlns:a16="http://schemas.microsoft.com/office/drawing/2014/main" id="{AB7F23EF-7BE3-4FD9-BEE7-EC95DF4BF334}"/>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2" name="Trapezoid 241">
                <a:extLst>
                  <a:ext uri="{FF2B5EF4-FFF2-40B4-BE49-F238E27FC236}">
                    <a16:creationId xmlns:a16="http://schemas.microsoft.com/office/drawing/2014/main" id="{9A877E46-3549-46D2-A892-B4E0B9013382}"/>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37" name="Group 236">
              <a:extLst>
                <a:ext uri="{FF2B5EF4-FFF2-40B4-BE49-F238E27FC236}">
                  <a16:creationId xmlns:a16="http://schemas.microsoft.com/office/drawing/2014/main" id="{B789597B-BD34-4D5B-8749-EDAE2047386C}"/>
                </a:ext>
              </a:extLst>
            </p:cNvPr>
            <p:cNvGrpSpPr/>
            <p:nvPr/>
          </p:nvGrpSpPr>
          <p:grpSpPr>
            <a:xfrm rot="9000000">
              <a:off x="3888067" y="2855911"/>
              <a:ext cx="175040" cy="2041126"/>
              <a:chOff x="8229799" y="2768458"/>
              <a:chExt cx="175040" cy="2041126"/>
            </a:xfrm>
            <a:solidFill>
              <a:srgbClr val="00529B"/>
            </a:solidFill>
          </p:grpSpPr>
          <p:sp>
            <p:nvSpPr>
              <p:cNvPr id="239" name="Trapezoid 238">
                <a:extLst>
                  <a:ext uri="{FF2B5EF4-FFF2-40B4-BE49-F238E27FC236}">
                    <a16:creationId xmlns:a16="http://schemas.microsoft.com/office/drawing/2014/main" id="{4399496A-204F-40A0-A5FF-FD1F5F7159AA}"/>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40" name="Trapezoid 239">
                <a:extLst>
                  <a:ext uri="{FF2B5EF4-FFF2-40B4-BE49-F238E27FC236}">
                    <a16:creationId xmlns:a16="http://schemas.microsoft.com/office/drawing/2014/main" id="{C3A24BEC-CD56-4B63-B919-9F4AAD51D30B}"/>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38" name="Oval 237">
              <a:extLst>
                <a:ext uri="{FF2B5EF4-FFF2-40B4-BE49-F238E27FC236}">
                  <a16:creationId xmlns:a16="http://schemas.microsoft.com/office/drawing/2014/main" id="{4466303F-0306-490E-B5FC-E8652B2D2C53}"/>
                </a:ext>
              </a:extLst>
            </p:cNvPr>
            <p:cNvSpPr>
              <a:spLocks noChangeAspect="1"/>
            </p:cNvSpPr>
            <p:nvPr/>
          </p:nvSpPr>
          <p:spPr>
            <a:xfrm>
              <a:off x="3269172" y="3175844"/>
              <a:ext cx="1408186" cy="1408186"/>
            </a:xfrm>
            <a:prstGeom prst="ellipse">
              <a:avLst/>
            </a:prstGeom>
            <a:solidFill>
              <a:srgbClr val="FFFFFF"/>
            </a:solidFill>
            <a:ln w="76200" cap="flat" cmpd="sng" algn="ctr">
              <a:solidFill>
                <a:srgbClr val="00529B">
                  <a:lumMod val="50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529B"/>
                </a:solidFill>
                <a:effectLst/>
                <a:uLnTx/>
                <a:uFillTx/>
                <a:latin typeface="Arial"/>
                <a:ea typeface="Arial Unicode MS"/>
                <a:cs typeface="Arial Unicode MS"/>
              </a:endParaRPr>
            </a:p>
          </p:txBody>
        </p:sp>
      </p:grpSp>
      <p:grpSp>
        <p:nvGrpSpPr>
          <p:cNvPr id="251" name="Group 250">
            <a:extLst>
              <a:ext uri="{FF2B5EF4-FFF2-40B4-BE49-F238E27FC236}">
                <a16:creationId xmlns:a16="http://schemas.microsoft.com/office/drawing/2014/main" id="{C9C4B35E-1F31-4F00-A7C5-FB9A33786BF9}"/>
              </a:ext>
            </a:extLst>
          </p:cNvPr>
          <p:cNvGrpSpPr/>
          <p:nvPr/>
        </p:nvGrpSpPr>
        <p:grpSpPr>
          <a:xfrm>
            <a:off x="5266793" y="3290490"/>
            <a:ext cx="1658415" cy="1658415"/>
            <a:chOff x="5517577" y="2855912"/>
            <a:chExt cx="2041126" cy="2041126"/>
          </a:xfrm>
        </p:grpSpPr>
        <p:sp>
          <p:nvSpPr>
            <p:cNvPr id="252" name="Circle: Hollow 342">
              <a:extLst>
                <a:ext uri="{FF2B5EF4-FFF2-40B4-BE49-F238E27FC236}">
                  <a16:creationId xmlns:a16="http://schemas.microsoft.com/office/drawing/2014/main" id="{FB482B73-6B66-4808-88F4-8F5C4DA765EA}"/>
                </a:ext>
              </a:extLst>
            </p:cNvPr>
            <p:cNvSpPr>
              <a:spLocks noChangeAspect="1"/>
            </p:cNvSpPr>
            <p:nvPr/>
          </p:nvSpPr>
          <p:spPr>
            <a:xfrm>
              <a:off x="5679785" y="3018120"/>
              <a:ext cx="1716710" cy="1716710"/>
            </a:xfrm>
            <a:prstGeom prst="donut">
              <a:avLst>
                <a:gd name="adj" fmla="val 7139"/>
              </a:avLst>
            </a:prstGeom>
            <a:solidFill>
              <a:srgbClr val="00A5E3"/>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53" name="Group 252">
              <a:extLst>
                <a:ext uri="{FF2B5EF4-FFF2-40B4-BE49-F238E27FC236}">
                  <a16:creationId xmlns:a16="http://schemas.microsoft.com/office/drawing/2014/main" id="{96483F95-D137-4BC0-B257-B8F15EC3DCB3}"/>
                </a:ext>
              </a:extLst>
            </p:cNvPr>
            <p:cNvGrpSpPr/>
            <p:nvPr/>
          </p:nvGrpSpPr>
          <p:grpSpPr>
            <a:xfrm>
              <a:off x="6450620" y="2855912"/>
              <a:ext cx="175040" cy="2041126"/>
              <a:chOff x="8229799" y="2768458"/>
              <a:chExt cx="175040" cy="2041126"/>
            </a:xfrm>
            <a:solidFill>
              <a:srgbClr val="00A5E3"/>
            </a:solidFill>
          </p:grpSpPr>
          <p:sp>
            <p:nvSpPr>
              <p:cNvPr id="270" name="Trapezoid 269">
                <a:extLst>
                  <a:ext uri="{FF2B5EF4-FFF2-40B4-BE49-F238E27FC236}">
                    <a16:creationId xmlns:a16="http://schemas.microsoft.com/office/drawing/2014/main" id="{F289C1F2-885C-4BFA-8D06-84880AF01D28}"/>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71" name="Trapezoid 270">
                <a:extLst>
                  <a:ext uri="{FF2B5EF4-FFF2-40B4-BE49-F238E27FC236}">
                    <a16:creationId xmlns:a16="http://schemas.microsoft.com/office/drawing/2014/main" id="{24CF4381-0AAD-45D7-8BFE-7FF7BAD3F81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4" name="Group 253">
              <a:extLst>
                <a:ext uri="{FF2B5EF4-FFF2-40B4-BE49-F238E27FC236}">
                  <a16:creationId xmlns:a16="http://schemas.microsoft.com/office/drawing/2014/main" id="{F859D88C-EAB4-48D0-A6B7-72FB77EA6F39}"/>
                </a:ext>
              </a:extLst>
            </p:cNvPr>
            <p:cNvGrpSpPr/>
            <p:nvPr/>
          </p:nvGrpSpPr>
          <p:grpSpPr>
            <a:xfrm rot="5400000">
              <a:off x="6450620" y="2855912"/>
              <a:ext cx="175040" cy="2041126"/>
              <a:chOff x="8229799" y="2768458"/>
              <a:chExt cx="175040" cy="2041126"/>
            </a:xfrm>
            <a:solidFill>
              <a:srgbClr val="00A5E3"/>
            </a:solidFill>
          </p:grpSpPr>
          <p:sp>
            <p:nvSpPr>
              <p:cNvPr id="268" name="Trapezoid 267">
                <a:extLst>
                  <a:ext uri="{FF2B5EF4-FFF2-40B4-BE49-F238E27FC236}">
                    <a16:creationId xmlns:a16="http://schemas.microsoft.com/office/drawing/2014/main" id="{35FA2597-7D7A-4D5B-B4E3-B1D056A2606F}"/>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9" name="Trapezoid 268">
                <a:extLst>
                  <a:ext uri="{FF2B5EF4-FFF2-40B4-BE49-F238E27FC236}">
                    <a16:creationId xmlns:a16="http://schemas.microsoft.com/office/drawing/2014/main" id="{1826CF79-4A0C-4480-895C-FF04C75A54BC}"/>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5" name="Group 254">
              <a:extLst>
                <a:ext uri="{FF2B5EF4-FFF2-40B4-BE49-F238E27FC236}">
                  <a16:creationId xmlns:a16="http://schemas.microsoft.com/office/drawing/2014/main" id="{B9B5636F-1815-4546-AC95-9F64FFF3C66C}"/>
                </a:ext>
              </a:extLst>
            </p:cNvPr>
            <p:cNvGrpSpPr/>
            <p:nvPr/>
          </p:nvGrpSpPr>
          <p:grpSpPr>
            <a:xfrm rot="1800000">
              <a:off x="6450621" y="2855912"/>
              <a:ext cx="175040" cy="2041126"/>
              <a:chOff x="8229799" y="2768458"/>
              <a:chExt cx="175040" cy="2041126"/>
            </a:xfrm>
            <a:solidFill>
              <a:srgbClr val="00A5E3"/>
            </a:solidFill>
          </p:grpSpPr>
          <p:sp>
            <p:nvSpPr>
              <p:cNvPr id="266" name="Trapezoid 265">
                <a:extLst>
                  <a:ext uri="{FF2B5EF4-FFF2-40B4-BE49-F238E27FC236}">
                    <a16:creationId xmlns:a16="http://schemas.microsoft.com/office/drawing/2014/main" id="{EE8AE4AD-A223-4E1B-A09F-333F7DC791A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7" name="Trapezoid 266">
                <a:extLst>
                  <a:ext uri="{FF2B5EF4-FFF2-40B4-BE49-F238E27FC236}">
                    <a16:creationId xmlns:a16="http://schemas.microsoft.com/office/drawing/2014/main" id="{FB2FAF06-4A98-4560-A80C-CDEB6E42100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6" name="Group 255">
              <a:extLst>
                <a:ext uri="{FF2B5EF4-FFF2-40B4-BE49-F238E27FC236}">
                  <a16:creationId xmlns:a16="http://schemas.microsoft.com/office/drawing/2014/main" id="{45F260AB-68AD-4E95-AD44-D0D4AC8FE16D}"/>
                </a:ext>
              </a:extLst>
            </p:cNvPr>
            <p:cNvGrpSpPr/>
            <p:nvPr/>
          </p:nvGrpSpPr>
          <p:grpSpPr>
            <a:xfrm rot="3600000">
              <a:off x="6450620" y="2855913"/>
              <a:ext cx="175040" cy="2041126"/>
              <a:chOff x="8229799" y="2768458"/>
              <a:chExt cx="175040" cy="2041126"/>
            </a:xfrm>
            <a:solidFill>
              <a:srgbClr val="00A5E3"/>
            </a:solidFill>
          </p:grpSpPr>
          <p:sp>
            <p:nvSpPr>
              <p:cNvPr id="264" name="Trapezoid 263">
                <a:extLst>
                  <a:ext uri="{FF2B5EF4-FFF2-40B4-BE49-F238E27FC236}">
                    <a16:creationId xmlns:a16="http://schemas.microsoft.com/office/drawing/2014/main" id="{2F576CE6-C7F8-455B-ADE2-C36E730BB665}"/>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5" name="Trapezoid 264">
                <a:extLst>
                  <a:ext uri="{FF2B5EF4-FFF2-40B4-BE49-F238E27FC236}">
                    <a16:creationId xmlns:a16="http://schemas.microsoft.com/office/drawing/2014/main" id="{1C5068E5-998E-425C-973B-7E282C81BA13}"/>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7" name="Group 256">
              <a:extLst>
                <a:ext uri="{FF2B5EF4-FFF2-40B4-BE49-F238E27FC236}">
                  <a16:creationId xmlns:a16="http://schemas.microsoft.com/office/drawing/2014/main" id="{F4354415-D96C-4406-8E32-E4B4B003F066}"/>
                </a:ext>
              </a:extLst>
            </p:cNvPr>
            <p:cNvGrpSpPr/>
            <p:nvPr/>
          </p:nvGrpSpPr>
          <p:grpSpPr>
            <a:xfrm rot="7200000">
              <a:off x="6450620" y="2855913"/>
              <a:ext cx="175040" cy="2041126"/>
              <a:chOff x="8229799" y="2768458"/>
              <a:chExt cx="175040" cy="2041126"/>
            </a:xfrm>
            <a:solidFill>
              <a:srgbClr val="00A5E3"/>
            </a:solidFill>
          </p:grpSpPr>
          <p:sp>
            <p:nvSpPr>
              <p:cNvPr id="262" name="Trapezoid 261">
                <a:extLst>
                  <a:ext uri="{FF2B5EF4-FFF2-40B4-BE49-F238E27FC236}">
                    <a16:creationId xmlns:a16="http://schemas.microsoft.com/office/drawing/2014/main" id="{D21F1152-91F1-4881-B865-6A9B402BA1E6}"/>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3" name="Trapezoid 262">
                <a:extLst>
                  <a:ext uri="{FF2B5EF4-FFF2-40B4-BE49-F238E27FC236}">
                    <a16:creationId xmlns:a16="http://schemas.microsoft.com/office/drawing/2014/main" id="{EC74F657-6051-4C4E-84E6-7721738D9F56}"/>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58" name="Group 257">
              <a:extLst>
                <a:ext uri="{FF2B5EF4-FFF2-40B4-BE49-F238E27FC236}">
                  <a16:creationId xmlns:a16="http://schemas.microsoft.com/office/drawing/2014/main" id="{C2E80D97-7560-4B52-BF31-0FB765394F5D}"/>
                </a:ext>
              </a:extLst>
            </p:cNvPr>
            <p:cNvGrpSpPr/>
            <p:nvPr/>
          </p:nvGrpSpPr>
          <p:grpSpPr>
            <a:xfrm rot="9000000">
              <a:off x="6450621" y="2855912"/>
              <a:ext cx="175040" cy="2041126"/>
              <a:chOff x="8229799" y="2768458"/>
              <a:chExt cx="175040" cy="2041126"/>
            </a:xfrm>
            <a:solidFill>
              <a:srgbClr val="00A5E3"/>
            </a:solidFill>
          </p:grpSpPr>
          <p:sp>
            <p:nvSpPr>
              <p:cNvPr id="260" name="Trapezoid 259">
                <a:extLst>
                  <a:ext uri="{FF2B5EF4-FFF2-40B4-BE49-F238E27FC236}">
                    <a16:creationId xmlns:a16="http://schemas.microsoft.com/office/drawing/2014/main" id="{AECF15D1-BC3B-4ED7-8F4B-56B030AC0FFB}"/>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61" name="Trapezoid 260">
                <a:extLst>
                  <a:ext uri="{FF2B5EF4-FFF2-40B4-BE49-F238E27FC236}">
                    <a16:creationId xmlns:a16="http://schemas.microsoft.com/office/drawing/2014/main" id="{EFD49C64-45C5-4D4B-8280-09CF817D077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59" name="Oval 258">
              <a:extLst>
                <a:ext uri="{FF2B5EF4-FFF2-40B4-BE49-F238E27FC236}">
                  <a16:creationId xmlns:a16="http://schemas.microsoft.com/office/drawing/2014/main" id="{6A27A884-8FBA-4BD2-96F5-DDFF3F2A6F50}"/>
                </a:ext>
              </a:extLst>
            </p:cNvPr>
            <p:cNvSpPr>
              <a:spLocks noChangeAspect="1"/>
            </p:cNvSpPr>
            <p:nvPr/>
          </p:nvSpPr>
          <p:spPr>
            <a:xfrm>
              <a:off x="5831726" y="3175845"/>
              <a:ext cx="1408186" cy="1408186"/>
            </a:xfrm>
            <a:prstGeom prst="ellipse">
              <a:avLst/>
            </a:prstGeom>
            <a:solidFill>
              <a:srgbClr val="FFFFFF"/>
            </a:solidFill>
            <a:ln w="76200" cap="flat" cmpd="sng" algn="ctr">
              <a:solidFill>
                <a:srgbClr val="00A5E3">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00A5E3"/>
                </a:solidFill>
                <a:effectLst/>
                <a:uLnTx/>
                <a:uFillTx/>
                <a:latin typeface="Arial"/>
                <a:ea typeface="Arial Unicode MS"/>
                <a:cs typeface="Arial Unicode MS"/>
              </a:endParaRPr>
            </a:p>
          </p:txBody>
        </p:sp>
      </p:grpSp>
      <p:grpSp>
        <p:nvGrpSpPr>
          <p:cNvPr id="272" name="Group 271">
            <a:extLst>
              <a:ext uri="{FF2B5EF4-FFF2-40B4-BE49-F238E27FC236}">
                <a16:creationId xmlns:a16="http://schemas.microsoft.com/office/drawing/2014/main" id="{006E3EF0-D586-47E7-803A-F7A242A4F0A9}"/>
              </a:ext>
            </a:extLst>
          </p:cNvPr>
          <p:cNvGrpSpPr/>
          <p:nvPr/>
        </p:nvGrpSpPr>
        <p:grpSpPr>
          <a:xfrm>
            <a:off x="6516988" y="3290490"/>
            <a:ext cx="1658415" cy="1658415"/>
            <a:chOff x="7964592" y="2855911"/>
            <a:chExt cx="2041126" cy="2041126"/>
          </a:xfrm>
        </p:grpSpPr>
        <p:sp>
          <p:nvSpPr>
            <p:cNvPr id="273" name="Circle: Hollow 362">
              <a:extLst>
                <a:ext uri="{FF2B5EF4-FFF2-40B4-BE49-F238E27FC236}">
                  <a16:creationId xmlns:a16="http://schemas.microsoft.com/office/drawing/2014/main" id="{F1E7AA97-8193-4967-A14B-6D88CFB95D9A}"/>
                </a:ext>
              </a:extLst>
            </p:cNvPr>
            <p:cNvSpPr>
              <a:spLocks noChangeAspect="1"/>
            </p:cNvSpPr>
            <p:nvPr/>
          </p:nvSpPr>
          <p:spPr>
            <a:xfrm>
              <a:off x="8126800" y="3018119"/>
              <a:ext cx="1716710" cy="1716710"/>
            </a:xfrm>
            <a:prstGeom prst="donut">
              <a:avLst>
                <a:gd name="adj" fmla="val 7139"/>
              </a:avLst>
            </a:prstGeom>
            <a:solidFill>
              <a:srgbClr val="66C9EE"/>
            </a:solid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rgbClr val="000000"/>
                </a:solidFill>
                <a:effectLst/>
                <a:uLnTx/>
                <a:uFillTx/>
                <a:latin typeface="Arial"/>
                <a:ea typeface="Arial Unicode MS"/>
                <a:cs typeface="Arial Unicode MS"/>
              </a:endParaRPr>
            </a:p>
          </p:txBody>
        </p:sp>
        <p:grpSp>
          <p:nvGrpSpPr>
            <p:cNvPr id="274" name="Group 273">
              <a:extLst>
                <a:ext uri="{FF2B5EF4-FFF2-40B4-BE49-F238E27FC236}">
                  <a16:creationId xmlns:a16="http://schemas.microsoft.com/office/drawing/2014/main" id="{7D823496-D29C-480B-A4B8-F65D24B23AA2}"/>
                </a:ext>
              </a:extLst>
            </p:cNvPr>
            <p:cNvGrpSpPr/>
            <p:nvPr/>
          </p:nvGrpSpPr>
          <p:grpSpPr>
            <a:xfrm>
              <a:off x="8897635" y="2855911"/>
              <a:ext cx="175040" cy="2041126"/>
              <a:chOff x="8229799" y="2768458"/>
              <a:chExt cx="175040" cy="2041126"/>
            </a:xfrm>
            <a:solidFill>
              <a:srgbClr val="66C9EE"/>
            </a:solidFill>
          </p:grpSpPr>
          <p:sp>
            <p:nvSpPr>
              <p:cNvPr id="291" name="Trapezoid 290">
                <a:extLst>
                  <a:ext uri="{FF2B5EF4-FFF2-40B4-BE49-F238E27FC236}">
                    <a16:creationId xmlns:a16="http://schemas.microsoft.com/office/drawing/2014/main" id="{23989E1E-2551-4E76-AA05-97834E2E8099}"/>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2" name="Trapezoid 291">
                <a:extLst>
                  <a:ext uri="{FF2B5EF4-FFF2-40B4-BE49-F238E27FC236}">
                    <a16:creationId xmlns:a16="http://schemas.microsoft.com/office/drawing/2014/main" id="{141F551E-D52B-4D93-9E5A-9607542C3687}"/>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5" name="Group 274">
              <a:extLst>
                <a:ext uri="{FF2B5EF4-FFF2-40B4-BE49-F238E27FC236}">
                  <a16:creationId xmlns:a16="http://schemas.microsoft.com/office/drawing/2014/main" id="{38D44D16-4026-4D21-9EEB-88ED9F6A563B}"/>
                </a:ext>
              </a:extLst>
            </p:cNvPr>
            <p:cNvGrpSpPr/>
            <p:nvPr/>
          </p:nvGrpSpPr>
          <p:grpSpPr>
            <a:xfrm rot="5400000">
              <a:off x="8897635" y="2855911"/>
              <a:ext cx="175040" cy="2041126"/>
              <a:chOff x="8229799" y="2768458"/>
              <a:chExt cx="175040" cy="2041126"/>
            </a:xfrm>
            <a:solidFill>
              <a:srgbClr val="66C9EE"/>
            </a:solidFill>
          </p:grpSpPr>
          <p:sp>
            <p:nvSpPr>
              <p:cNvPr id="289" name="Trapezoid 288">
                <a:extLst>
                  <a:ext uri="{FF2B5EF4-FFF2-40B4-BE49-F238E27FC236}">
                    <a16:creationId xmlns:a16="http://schemas.microsoft.com/office/drawing/2014/main" id="{D7F08A54-0E98-44A0-8FFB-1E646F17824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90" name="Trapezoid 289">
                <a:extLst>
                  <a:ext uri="{FF2B5EF4-FFF2-40B4-BE49-F238E27FC236}">
                    <a16:creationId xmlns:a16="http://schemas.microsoft.com/office/drawing/2014/main" id="{2A259190-B785-4AE8-890D-32942400AEFF}"/>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6" name="Group 275">
              <a:extLst>
                <a:ext uri="{FF2B5EF4-FFF2-40B4-BE49-F238E27FC236}">
                  <a16:creationId xmlns:a16="http://schemas.microsoft.com/office/drawing/2014/main" id="{70D03D45-4FD9-4747-8ADA-710B505E6CEB}"/>
                </a:ext>
              </a:extLst>
            </p:cNvPr>
            <p:cNvGrpSpPr/>
            <p:nvPr/>
          </p:nvGrpSpPr>
          <p:grpSpPr>
            <a:xfrm rot="1800000">
              <a:off x="8897636" y="2855911"/>
              <a:ext cx="175040" cy="2041126"/>
              <a:chOff x="8229799" y="2768458"/>
              <a:chExt cx="175040" cy="2041126"/>
            </a:xfrm>
            <a:solidFill>
              <a:srgbClr val="66C9EE"/>
            </a:solidFill>
          </p:grpSpPr>
          <p:sp>
            <p:nvSpPr>
              <p:cNvPr id="287" name="Trapezoid 286">
                <a:extLst>
                  <a:ext uri="{FF2B5EF4-FFF2-40B4-BE49-F238E27FC236}">
                    <a16:creationId xmlns:a16="http://schemas.microsoft.com/office/drawing/2014/main" id="{4A1FD89D-58DA-4B99-8E21-DC774C5A85E0}"/>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8" name="Trapezoid 287">
                <a:extLst>
                  <a:ext uri="{FF2B5EF4-FFF2-40B4-BE49-F238E27FC236}">
                    <a16:creationId xmlns:a16="http://schemas.microsoft.com/office/drawing/2014/main" id="{6A770388-048A-4031-95EA-E99401CBE7C5}"/>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7" name="Group 276">
              <a:extLst>
                <a:ext uri="{FF2B5EF4-FFF2-40B4-BE49-F238E27FC236}">
                  <a16:creationId xmlns:a16="http://schemas.microsoft.com/office/drawing/2014/main" id="{82D3600F-8F1B-4058-BD1F-D546D1F6DB7F}"/>
                </a:ext>
              </a:extLst>
            </p:cNvPr>
            <p:cNvGrpSpPr/>
            <p:nvPr/>
          </p:nvGrpSpPr>
          <p:grpSpPr>
            <a:xfrm rot="3600000">
              <a:off x="8897635" y="2855912"/>
              <a:ext cx="175040" cy="2041126"/>
              <a:chOff x="8229799" y="2768458"/>
              <a:chExt cx="175040" cy="2041126"/>
            </a:xfrm>
            <a:solidFill>
              <a:srgbClr val="66C9EE"/>
            </a:solidFill>
          </p:grpSpPr>
          <p:sp>
            <p:nvSpPr>
              <p:cNvPr id="285" name="Trapezoid 284">
                <a:extLst>
                  <a:ext uri="{FF2B5EF4-FFF2-40B4-BE49-F238E27FC236}">
                    <a16:creationId xmlns:a16="http://schemas.microsoft.com/office/drawing/2014/main" id="{F7A504F5-0A9C-4F4E-8EDD-18CA3F5EBC4C}"/>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6" name="Trapezoid 285">
                <a:extLst>
                  <a:ext uri="{FF2B5EF4-FFF2-40B4-BE49-F238E27FC236}">
                    <a16:creationId xmlns:a16="http://schemas.microsoft.com/office/drawing/2014/main" id="{9810034B-6622-44C0-A348-DA791796AC1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8" name="Group 277">
              <a:extLst>
                <a:ext uri="{FF2B5EF4-FFF2-40B4-BE49-F238E27FC236}">
                  <a16:creationId xmlns:a16="http://schemas.microsoft.com/office/drawing/2014/main" id="{80EAE1E0-ABE2-454A-BAE1-6873CECADC8A}"/>
                </a:ext>
              </a:extLst>
            </p:cNvPr>
            <p:cNvGrpSpPr/>
            <p:nvPr/>
          </p:nvGrpSpPr>
          <p:grpSpPr>
            <a:xfrm rot="7200000">
              <a:off x="8897635" y="2855912"/>
              <a:ext cx="175040" cy="2041126"/>
              <a:chOff x="8229799" y="2768458"/>
              <a:chExt cx="175040" cy="2041126"/>
            </a:xfrm>
            <a:solidFill>
              <a:srgbClr val="66C9EE"/>
            </a:solidFill>
          </p:grpSpPr>
          <p:sp>
            <p:nvSpPr>
              <p:cNvPr id="283" name="Trapezoid 282">
                <a:extLst>
                  <a:ext uri="{FF2B5EF4-FFF2-40B4-BE49-F238E27FC236}">
                    <a16:creationId xmlns:a16="http://schemas.microsoft.com/office/drawing/2014/main" id="{C8D6490E-CA8F-4DEE-90D0-65B48B801F71}"/>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4" name="Trapezoid 283">
                <a:extLst>
                  <a:ext uri="{FF2B5EF4-FFF2-40B4-BE49-F238E27FC236}">
                    <a16:creationId xmlns:a16="http://schemas.microsoft.com/office/drawing/2014/main" id="{6BE64EE0-8748-4DA9-B643-ACD2B23450AE}"/>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grpSp>
          <p:nvGrpSpPr>
            <p:cNvPr id="279" name="Group 278">
              <a:extLst>
                <a:ext uri="{FF2B5EF4-FFF2-40B4-BE49-F238E27FC236}">
                  <a16:creationId xmlns:a16="http://schemas.microsoft.com/office/drawing/2014/main" id="{CD5EC0DD-5261-4298-8FAA-F7FC4B62367E}"/>
                </a:ext>
              </a:extLst>
            </p:cNvPr>
            <p:cNvGrpSpPr/>
            <p:nvPr/>
          </p:nvGrpSpPr>
          <p:grpSpPr>
            <a:xfrm rot="9000000">
              <a:off x="8897636" y="2855911"/>
              <a:ext cx="175040" cy="2041126"/>
              <a:chOff x="8229799" y="2768458"/>
              <a:chExt cx="175040" cy="2041126"/>
            </a:xfrm>
            <a:solidFill>
              <a:srgbClr val="66C9EE"/>
            </a:solidFill>
          </p:grpSpPr>
          <p:sp>
            <p:nvSpPr>
              <p:cNvPr id="281" name="Trapezoid 280">
                <a:extLst>
                  <a:ext uri="{FF2B5EF4-FFF2-40B4-BE49-F238E27FC236}">
                    <a16:creationId xmlns:a16="http://schemas.microsoft.com/office/drawing/2014/main" id="{CE0CA519-B72B-4881-9B44-8DB4382A8563}"/>
                  </a:ext>
                </a:extLst>
              </p:cNvPr>
              <p:cNvSpPr/>
              <p:nvPr/>
            </p:nvSpPr>
            <p:spPr>
              <a:xfrm>
                <a:off x="8229799" y="2768458"/>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282" name="Trapezoid 281">
                <a:extLst>
                  <a:ext uri="{FF2B5EF4-FFF2-40B4-BE49-F238E27FC236}">
                    <a16:creationId xmlns:a16="http://schemas.microsoft.com/office/drawing/2014/main" id="{E7977456-F1DB-4EEB-9079-4585629E4A21}"/>
                  </a:ext>
                </a:extLst>
              </p:cNvPr>
              <p:cNvSpPr/>
              <p:nvPr/>
            </p:nvSpPr>
            <p:spPr>
              <a:xfrm rot="10800000">
                <a:off x="8229799" y="4634676"/>
                <a:ext cx="175040" cy="174908"/>
              </a:xfrm>
              <a:prstGeom prst="trapezoid">
                <a:avLst/>
              </a:prstGeom>
              <a:grpFill/>
              <a:ln w="25400" cap="flat" cmpd="sng" algn="ctr">
                <a:no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grpSp>
        <p:sp>
          <p:nvSpPr>
            <p:cNvPr id="280" name="Oval 279">
              <a:extLst>
                <a:ext uri="{FF2B5EF4-FFF2-40B4-BE49-F238E27FC236}">
                  <a16:creationId xmlns:a16="http://schemas.microsoft.com/office/drawing/2014/main" id="{5FA317CC-2335-4C89-91BB-8DF93E3F920F}"/>
                </a:ext>
              </a:extLst>
            </p:cNvPr>
            <p:cNvSpPr>
              <a:spLocks noChangeAspect="1"/>
            </p:cNvSpPr>
            <p:nvPr/>
          </p:nvSpPr>
          <p:spPr>
            <a:xfrm>
              <a:off x="8278741" y="3175844"/>
              <a:ext cx="1408186" cy="1408186"/>
            </a:xfrm>
            <a:prstGeom prst="ellipse">
              <a:avLst/>
            </a:prstGeom>
            <a:solidFill>
              <a:srgbClr val="FFFFFF"/>
            </a:solidFill>
            <a:ln w="76200" cap="flat" cmpd="sng" algn="ctr">
              <a:solidFill>
                <a:srgbClr val="66C9EE">
                  <a:lumMod val="75000"/>
                </a:srgbClr>
              </a:solidFill>
              <a:prstDash val="solid"/>
            </a:ln>
            <a:effectLst/>
          </p:spPr>
          <p:txBody>
            <a:bodyPr rot="0" spcFirstLastPara="0" vertOverflow="overflow" horzOverflow="overflow" vert="horz" wrap="square" lIns="74295" tIns="37148" rIns="74295" bIns="37148" numCol="1" spcCol="0" rtlCol="0" fromWordArt="0" anchor="ctr" anchorCtr="0" forceAA="0" compatLnSpc="1">
              <a:prstTxWarp prst="textNoShape">
                <a:avLst/>
              </a:prstTxWarp>
              <a:noAutofit/>
            </a:bodyP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4000" b="1" i="0" u="none" strike="noStrike" kern="0" cap="none" spc="0" normalizeH="0" baseline="0">
                <a:ln>
                  <a:noFill/>
                </a:ln>
                <a:solidFill>
                  <a:srgbClr val="66C9EE"/>
                </a:solidFill>
                <a:effectLst/>
                <a:uLnTx/>
                <a:uFillTx/>
                <a:latin typeface="Arial"/>
                <a:ea typeface="Arial Unicode MS"/>
                <a:cs typeface="Arial Unicode MS"/>
              </a:endParaRPr>
            </a:p>
          </p:txBody>
        </p:sp>
      </p:grpSp>
      <p:sp>
        <p:nvSpPr>
          <p:cNvPr id="314" name="Arc 313">
            <a:extLst>
              <a:ext uri="{FF2B5EF4-FFF2-40B4-BE49-F238E27FC236}">
                <a16:creationId xmlns:a16="http://schemas.microsoft.com/office/drawing/2014/main" id="{74B269B8-4FA6-4297-80FB-6BB753809CBB}"/>
              </a:ext>
            </a:extLst>
          </p:cNvPr>
          <p:cNvSpPr/>
          <p:nvPr/>
        </p:nvSpPr>
        <p:spPr>
          <a:xfrm>
            <a:off x="2997345"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5" name="Arc 314">
            <a:extLst>
              <a:ext uri="{FF2B5EF4-FFF2-40B4-BE49-F238E27FC236}">
                <a16:creationId xmlns:a16="http://schemas.microsoft.com/office/drawing/2014/main" id="{86886464-AF17-419C-B629-F51CF76ABCF1}"/>
              </a:ext>
            </a:extLst>
          </p:cNvPr>
          <p:cNvSpPr/>
          <p:nvPr/>
        </p:nvSpPr>
        <p:spPr>
          <a:xfrm>
            <a:off x="5496020" y="3032867"/>
            <a:ext cx="1196528" cy="742950"/>
          </a:xfrm>
          <a:prstGeom prst="arc">
            <a:avLst>
              <a:gd name="adj1" fmla="val 11819633"/>
              <a:gd name="adj2" fmla="val 20612193"/>
            </a:avLst>
          </a:prstGeom>
          <a:noFill/>
          <a:ln w="57150" cap="flat" cmpd="sng" algn="ctr">
            <a:solidFill>
              <a:srgbClr val="FFFFFF">
                <a:lumMod val="85000"/>
              </a:srgbClr>
            </a:solidFill>
            <a:prstDash val="solid"/>
            <a:headEnd type="none" w="med" len="med"/>
            <a:tailEnd type="triangl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7" name="Arc 316">
            <a:extLst>
              <a:ext uri="{FF2B5EF4-FFF2-40B4-BE49-F238E27FC236}">
                <a16:creationId xmlns:a16="http://schemas.microsoft.com/office/drawing/2014/main" id="{54509321-67DA-4B61-A376-0A1A543DD867}"/>
              </a:ext>
            </a:extLst>
          </p:cNvPr>
          <p:cNvSpPr/>
          <p:nvPr/>
        </p:nvSpPr>
        <p:spPr>
          <a:xfrm rot="10800000">
            <a:off x="6715288"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sp>
        <p:nvSpPr>
          <p:cNvPr id="318" name="Arc 317">
            <a:extLst>
              <a:ext uri="{FF2B5EF4-FFF2-40B4-BE49-F238E27FC236}">
                <a16:creationId xmlns:a16="http://schemas.microsoft.com/office/drawing/2014/main" id="{B91877CD-760B-4F1C-B2DD-10ADF01E3767}"/>
              </a:ext>
            </a:extLst>
          </p:cNvPr>
          <p:cNvSpPr/>
          <p:nvPr/>
        </p:nvSpPr>
        <p:spPr>
          <a:xfrm rot="10800000">
            <a:off x="4216612" y="4446176"/>
            <a:ext cx="1196528" cy="742950"/>
          </a:xfrm>
          <a:prstGeom prst="arc">
            <a:avLst>
              <a:gd name="adj1" fmla="val 11819633"/>
              <a:gd name="adj2" fmla="val 20612193"/>
            </a:avLst>
          </a:prstGeom>
          <a:noFill/>
          <a:ln w="57150" cap="flat" cmpd="sng" algn="ctr">
            <a:solidFill>
              <a:srgbClr val="FFFFFF">
                <a:lumMod val="85000"/>
              </a:srgbClr>
            </a:solidFill>
            <a:prstDash val="solid"/>
            <a:headEnd type="triangle" w="med" len="med"/>
            <a:tailEnd type="none" w="med" len="med"/>
          </a:ln>
          <a:effectLst/>
        </p:spPr>
        <p:txBody>
          <a:bodyPr rtlCol="0" anchor="ctr"/>
          <a:lstStyle/>
          <a:p>
            <a:pPr marL="0" marR="0" lvl="0" indent="0" algn="ctr" defTabSz="742950" eaLnBrk="1" fontAlgn="base" latinLnBrk="0" hangingPunct="1">
              <a:lnSpc>
                <a:spcPct val="100000"/>
              </a:lnSpc>
              <a:spcBef>
                <a:spcPct val="31250"/>
              </a:spcBef>
              <a:spcAft>
                <a:spcPct val="0"/>
              </a:spcAft>
              <a:buClr>
                <a:srgbClr val="00529B"/>
              </a:buClr>
              <a:buSzPct val="100000"/>
              <a:buFontTx/>
              <a:buNone/>
              <a:tabLst/>
              <a:defRPr/>
            </a:pPr>
            <a:endParaRPr kumimoji="0" lang="en-BE" sz="1463" b="0" i="0" u="none" strike="noStrike" kern="0" cap="none" spc="0" normalizeH="0" baseline="0">
              <a:ln>
                <a:noFill/>
              </a:ln>
              <a:solidFill>
                <a:sysClr val="windowText" lastClr="000000"/>
              </a:solidFill>
              <a:effectLst/>
              <a:uLnTx/>
              <a:uFillTx/>
              <a:latin typeface="Arial"/>
              <a:ea typeface="Arial Unicode MS"/>
              <a:cs typeface="Arial Unicode MS"/>
            </a:endParaRPr>
          </a:p>
        </p:txBody>
      </p:sp>
      <p:pic>
        <p:nvPicPr>
          <p:cNvPr id="394" name="Picture 393">
            <a:extLst>
              <a:ext uri="{FF2B5EF4-FFF2-40B4-BE49-F238E27FC236}">
                <a16:creationId xmlns:a16="http://schemas.microsoft.com/office/drawing/2014/main" id="{A33F370E-49F9-43F2-BF7B-97505E69807C}"/>
              </a:ext>
            </a:extLst>
          </p:cNvPr>
          <p:cNvPicPr>
            <a:picLocks noChangeAspect="1"/>
          </p:cNvPicPr>
          <p:nvPr/>
        </p:nvPicPr>
        <p:blipFill>
          <a:blip r:embed="rId6"/>
          <a:stretch>
            <a:fillRect/>
          </a:stretch>
        </p:blipFill>
        <p:spPr>
          <a:xfrm>
            <a:off x="5779070" y="3886987"/>
            <a:ext cx="710630" cy="357294"/>
          </a:xfrm>
          <a:prstGeom prst="rect">
            <a:avLst/>
          </a:prstGeom>
        </p:spPr>
      </p:pic>
      <p:sp>
        <p:nvSpPr>
          <p:cNvPr id="149" name="TextBox 148">
            <a:extLst>
              <a:ext uri="{FF2B5EF4-FFF2-40B4-BE49-F238E27FC236}">
                <a16:creationId xmlns:a16="http://schemas.microsoft.com/office/drawing/2014/main" id="{586A2C6A-98F0-4546-A582-077FE8F9B2BC}"/>
              </a:ext>
            </a:extLst>
          </p:cNvPr>
          <p:cNvSpPr txBox="1"/>
          <p:nvPr/>
        </p:nvSpPr>
        <p:spPr>
          <a:xfrm>
            <a:off x="3287005" y="5361049"/>
            <a:ext cx="2505814" cy="400110"/>
          </a:xfrm>
          <a:prstGeom prst="rect">
            <a:avLst/>
          </a:prstGeom>
          <a:noFill/>
          <a:ln>
            <a:noFill/>
          </a:ln>
        </p:spPr>
        <p:txBody>
          <a:bodyPr wrap="none" rtlCol="0">
            <a:spAutoFit/>
          </a:bodyPr>
          <a:lstStyle/>
          <a:p>
            <a:pPr algn="ctr" defTabSz="742950">
              <a:defRPr/>
            </a:pPr>
            <a:r>
              <a:rPr lang="en-IE" sz="2000" b="1" kern="0" dirty="0">
                <a:solidFill>
                  <a:srgbClr val="00254C"/>
                </a:solidFill>
              </a:rPr>
              <a:t>2</a:t>
            </a:r>
            <a:r>
              <a:rPr lang="en-BE" sz="2000" b="1" kern="0" dirty="0" smtClean="0">
                <a:solidFill>
                  <a:srgbClr val="00254C"/>
                </a:solidFill>
              </a:rPr>
              <a:t>. </a:t>
            </a:r>
            <a:r>
              <a:rPr lang="en-IE" sz="2000" b="1" kern="0" dirty="0" smtClean="0">
                <a:solidFill>
                  <a:srgbClr val="00254C"/>
                </a:solidFill>
              </a:rPr>
              <a:t>Data preparation</a:t>
            </a:r>
            <a:endParaRPr lang="en-BE" sz="2000" b="1" kern="0" dirty="0">
              <a:solidFill>
                <a:srgbClr val="00254C"/>
              </a:solidFill>
            </a:endParaRPr>
          </a:p>
        </p:txBody>
      </p:sp>
      <p:sp>
        <p:nvSpPr>
          <p:cNvPr id="150" name="TextBox 149">
            <a:extLst>
              <a:ext uri="{FF2B5EF4-FFF2-40B4-BE49-F238E27FC236}">
                <a16:creationId xmlns:a16="http://schemas.microsoft.com/office/drawing/2014/main" id="{19540246-EEC1-4560-B685-F7A3928F2692}"/>
              </a:ext>
            </a:extLst>
          </p:cNvPr>
          <p:cNvSpPr txBox="1"/>
          <p:nvPr/>
        </p:nvSpPr>
        <p:spPr>
          <a:xfrm>
            <a:off x="2997345" y="5734188"/>
            <a:ext cx="3305858" cy="923330"/>
          </a:xfrm>
          <a:prstGeom prst="rect">
            <a:avLst/>
          </a:prstGeom>
          <a:noFill/>
          <a:ln>
            <a:noFill/>
          </a:ln>
        </p:spPr>
        <p:txBody>
          <a:bodyPr wrap="square" rtlCol="0">
            <a:spAutoFit/>
          </a:bodyPr>
          <a:lstStyle/>
          <a:p>
            <a:pPr lvl="1"/>
            <a:r>
              <a:rPr lang="en-IE" dirty="0" smtClean="0"/>
              <a:t>Need to rethink our standardisation model (hour glass model)</a:t>
            </a:r>
            <a:endParaRPr lang="en-IE" dirty="0"/>
          </a:p>
        </p:txBody>
      </p:sp>
      <p:sp>
        <p:nvSpPr>
          <p:cNvPr id="153" name="TextBox 152">
            <a:extLst>
              <a:ext uri="{FF2B5EF4-FFF2-40B4-BE49-F238E27FC236}">
                <a16:creationId xmlns:a16="http://schemas.microsoft.com/office/drawing/2014/main" id="{586A2C6A-98F0-4546-A582-077FE8F9B2BC}"/>
              </a:ext>
            </a:extLst>
          </p:cNvPr>
          <p:cNvSpPr txBox="1"/>
          <p:nvPr/>
        </p:nvSpPr>
        <p:spPr>
          <a:xfrm>
            <a:off x="5163667" y="1598064"/>
            <a:ext cx="1834156" cy="400110"/>
          </a:xfrm>
          <a:prstGeom prst="rect">
            <a:avLst/>
          </a:prstGeom>
          <a:noFill/>
          <a:ln>
            <a:noFill/>
          </a:ln>
        </p:spPr>
        <p:txBody>
          <a:bodyPr wrap="none" rtlCol="0">
            <a:spAutoFit/>
          </a:bodyPr>
          <a:lstStyle/>
          <a:p>
            <a:pPr algn="ctr" defTabSz="742950">
              <a:defRPr/>
            </a:pPr>
            <a:r>
              <a:rPr lang="en-IE" sz="2000" b="1" kern="0" dirty="0" smtClean="0">
                <a:solidFill>
                  <a:srgbClr val="00254C"/>
                </a:solidFill>
              </a:rPr>
              <a:t>3</a:t>
            </a:r>
            <a:r>
              <a:rPr lang="en-BE" sz="2000" b="1" kern="0" dirty="0" smtClean="0">
                <a:solidFill>
                  <a:srgbClr val="00254C"/>
                </a:solidFill>
              </a:rPr>
              <a:t>. </a:t>
            </a:r>
            <a:r>
              <a:rPr lang="en-IE" sz="2000" b="1" kern="0" dirty="0" smtClean="0">
                <a:solidFill>
                  <a:srgbClr val="00254C"/>
                </a:solidFill>
              </a:rPr>
              <a:t>Multi-mode</a:t>
            </a:r>
            <a:endParaRPr lang="en-BE" sz="2000" b="1" kern="0" dirty="0">
              <a:solidFill>
                <a:srgbClr val="00254C"/>
              </a:solidFill>
            </a:endParaRPr>
          </a:p>
        </p:txBody>
      </p:sp>
      <p:sp>
        <p:nvSpPr>
          <p:cNvPr id="154" name="TextBox 153">
            <a:extLst>
              <a:ext uri="{FF2B5EF4-FFF2-40B4-BE49-F238E27FC236}">
                <a16:creationId xmlns:a16="http://schemas.microsoft.com/office/drawing/2014/main" id="{19540246-EEC1-4560-B685-F7A3928F2692}"/>
              </a:ext>
            </a:extLst>
          </p:cNvPr>
          <p:cNvSpPr txBox="1"/>
          <p:nvPr/>
        </p:nvSpPr>
        <p:spPr>
          <a:xfrm>
            <a:off x="4538175" y="1971203"/>
            <a:ext cx="3305858" cy="923330"/>
          </a:xfrm>
          <a:prstGeom prst="rect">
            <a:avLst/>
          </a:prstGeom>
          <a:noFill/>
          <a:ln>
            <a:noFill/>
          </a:ln>
        </p:spPr>
        <p:txBody>
          <a:bodyPr wrap="square" rtlCol="0">
            <a:spAutoFit/>
          </a:bodyPr>
          <a:lstStyle/>
          <a:p>
            <a:pPr lvl="1"/>
            <a:r>
              <a:rPr lang="en-IE" dirty="0"/>
              <a:t>Expanding and generalisation of </a:t>
            </a:r>
            <a:r>
              <a:rPr lang="en-IE" dirty="0" err="1"/>
              <a:t>multi mode</a:t>
            </a:r>
            <a:r>
              <a:rPr lang="en-IE" dirty="0"/>
              <a:t> data collection</a:t>
            </a:r>
          </a:p>
        </p:txBody>
      </p:sp>
      <p:sp>
        <p:nvSpPr>
          <p:cNvPr id="156" name="TextBox 155">
            <a:extLst>
              <a:ext uri="{FF2B5EF4-FFF2-40B4-BE49-F238E27FC236}">
                <a16:creationId xmlns:a16="http://schemas.microsoft.com/office/drawing/2014/main" id="{586A2C6A-98F0-4546-A582-077FE8F9B2BC}"/>
              </a:ext>
            </a:extLst>
          </p:cNvPr>
          <p:cNvSpPr txBox="1"/>
          <p:nvPr/>
        </p:nvSpPr>
        <p:spPr>
          <a:xfrm>
            <a:off x="6404839" y="5376624"/>
            <a:ext cx="2488182" cy="400110"/>
          </a:xfrm>
          <a:prstGeom prst="rect">
            <a:avLst/>
          </a:prstGeom>
          <a:noFill/>
          <a:ln>
            <a:noFill/>
          </a:ln>
        </p:spPr>
        <p:txBody>
          <a:bodyPr wrap="none" rtlCol="0">
            <a:spAutoFit/>
          </a:bodyPr>
          <a:lstStyle/>
          <a:p>
            <a:pPr algn="ctr" defTabSz="742950">
              <a:defRPr/>
            </a:pPr>
            <a:r>
              <a:rPr lang="en-IE" sz="2000" b="1" kern="0" dirty="0" smtClean="0">
                <a:solidFill>
                  <a:srgbClr val="00254C"/>
                </a:solidFill>
              </a:rPr>
              <a:t>4</a:t>
            </a:r>
            <a:r>
              <a:rPr lang="en-BE" sz="2000" b="1" kern="0" dirty="0" smtClean="0">
                <a:solidFill>
                  <a:srgbClr val="00254C"/>
                </a:solidFill>
              </a:rPr>
              <a:t>. </a:t>
            </a:r>
            <a:r>
              <a:rPr lang="en-IE" sz="2000" b="1" kern="0" dirty="0" smtClean="0">
                <a:solidFill>
                  <a:srgbClr val="00254C"/>
                </a:solidFill>
              </a:rPr>
              <a:t>Citizen statistics</a:t>
            </a:r>
            <a:endParaRPr lang="en-BE" sz="2000" b="1" kern="0" dirty="0">
              <a:solidFill>
                <a:srgbClr val="00254C"/>
              </a:solidFill>
            </a:endParaRPr>
          </a:p>
        </p:txBody>
      </p:sp>
      <p:sp>
        <p:nvSpPr>
          <p:cNvPr id="157" name="TextBox 156">
            <a:extLst>
              <a:ext uri="{FF2B5EF4-FFF2-40B4-BE49-F238E27FC236}">
                <a16:creationId xmlns:a16="http://schemas.microsoft.com/office/drawing/2014/main" id="{19540246-EEC1-4560-B685-F7A3928F2692}"/>
              </a:ext>
            </a:extLst>
          </p:cNvPr>
          <p:cNvSpPr txBox="1"/>
          <p:nvPr/>
        </p:nvSpPr>
        <p:spPr>
          <a:xfrm>
            <a:off x="6106358" y="5749763"/>
            <a:ext cx="3305858" cy="923330"/>
          </a:xfrm>
          <a:prstGeom prst="rect">
            <a:avLst/>
          </a:prstGeom>
          <a:noFill/>
          <a:ln>
            <a:noFill/>
          </a:ln>
        </p:spPr>
        <p:txBody>
          <a:bodyPr wrap="square" rtlCol="0">
            <a:spAutoFit/>
          </a:bodyPr>
          <a:lstStyle/>
          <a:p>
            <a:pPr lvl="1"/>
            <a:r>
              <a:rPr lang="en-IE" dirty="0"/>
              <a:t>Need to </a:t>
            </a:r>
            <a:r>
              <a:rPr lang="en-IE" dirty="0" smtClean="0"/>
              <a:t>engage citizen in the design, data gathering, data validation</a:t>
            </a:r>
            <a:endParaRPr lang="en-IE" dirty="0"/>
          </a:p>
        </p:txBody>
      </p:sp>
      <p:grpSp>
        <p:nvGrpSpPr>
          <p:cNvPr id="3" name="Group 2"/>
          <p:cNvGrpSpPr/>
          <p:nvPr/>
        </p:nvGrpSpPr>
        <p:grpSpPr>
          <a:xfrm>
            <a:off x="3251889" y="3838935"/>
            <a:ext cx="728282" cy="619799"/>
            <a:chOff x="1885412" y="3668174"/>
            <a:chExt cx="1581984" cy="1055775"/>
          </a:xfrm>
        </p:grpSpPr>
        <p:pic>
          <p:nvPicPr>
            <p:cNvPr id="123" name="Picture 13"/>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958147" y="3668174"/>
              <a:ext cx="598765" cy="4661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4" name="Picture 15"/>
            <p:cNvPicPr>
              <a:picLocks noChangeAspect="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885412" y="4151565"/>
              <a:ext cx="736441" cy="572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5" name="Picture 16"/>
            <p:cNvPicPr>
              <a:picLocks noChangeAspect="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2806288" y="3675253"/>
              <a:ext cx="500052" cy="39035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6" name="Picture 17"/>
            <p:cNvPicPr>
              <a:picLocks noChangeAspect="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799793" y="4152576"/>
              <a:ext cx="667603" cy="5319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4" name="Picture 3"/>
          <p:cNvPicPr>
            <a:picLocks noChangeAspect="1"/>
          </p:cNvPicPr>
          <p:nvPr/>
        </p:nvPicPr>
        <p:blipFill>
          <a:blip r:embed="rId11"/>
          <a:stretch>
            <a:fillRect/>
          </a:stretch>
        </p:blipFill>
        <p:spPr>
          <a:xfrm>
            <a:off x="4402901" y="3726403"/>
            <a:ext cx="767811" cy="755493"/>
          </a:xfrm>
          <a:prstGeom prst="rect">
            <a:avLst/>
          </a:prstGeom>
        </p:spPr>
      </p:pic>
      <p:pic>
        <p:nvPicPr>
          <p:cNvPr id="5" name="Picture 4"/>
          <p:cNvPicPr>
            <a:picLocks noChangeAspect="1"/>
          </p:cNvPicPr>
          <p:nvPr/>
        </p:nvPicPr>
        <p:blipFill>
          <a:blip r:embed="rId12"/>
          <a:stretch>
            <a:fillRect/>
          </a:stretch>
        </p:blipFill>
        <p:spPr>
          <a:xfrm flipH="1">
            <a:off x="5659964" y="3810914"/>
            <a:ext cx="848799" cy="586469"/>
          </a:xfrm>
          <a:prstGeom prst="rect">
            <a:avLst/>
          </a:prstGeom>
        </p:spPr>
      </p:pic>
      <p:pic>
        <p:nvPicPr>
          <p:cNvPr id="7" name="Picture 6"/>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6881255" y="3815123"/>
            <a:ext cx="886380" cy="655921"/>
          </a:xfrm>
          <a:prstGeom prst="rect">
            <a:avLst/>
          </a:prstGeom>
        </p:spPr>
      </p:pic>
    </p:spTree>
    <p:extLst>
      <p:ext uri="{BB962C8B-B14F-4D97-AF65-F5344CB8AC3E}">
        <p14:creationId xmlns:p14="http://schemas.microsoft.com/office/powerpoint/2010/main" val="25514763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Ns19C6DgylvsKf_PZtf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8iv_mA9bxsfHRP1FntMzP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
</p:tagLst>
</file>

<file path=ppt/theme/theme1.xml><?xml version="1.0" encoding="utf-8"?>
<a:theme xmlns:a="http://schemas.openxmlformats.org/drawingml/2006/main" name="Office Theme">
  <a:themeElements>
    <a:clrScheme name="EC colour scheme">
      <a:dk1>
        <a:srgbClr val="4D4D4D"/>
      </a:dk1>
      <a:lt1>
        <a:srgbClr val="FFFFFF"/>
      </a:lt1>
      <a:dk2>
        <a:srgbClr val="034EA2"/>
      </a:dk2>
      <a:lt2>
        <a:srgbClr val="D3E8F9"/>
      </a:lt2>
      <a:accent1>
        <a:srgbClr val="1E858B"/>
      </a:accent1>
      <a:accent2>
        <a:srgbClr val="4BC5DE"/>
      </a:accent2>
      <a:accent3>
        <a:srgbClr val="1EC08A"/>
      </a:accent3>
      <a:accent4>
        <a:srgbClr val="ED8D2F"/>
      </a:accent4>
      <a:accent5>
        <a:srgbClr val="FFC000"/>
      </a:accent5>
      <a:accent6>
        <a:srgbClr val="E76C53"/>
      </a:accent6>
      <a:hlink>
        <a:srgbClr val="0563C1"/>
      </a:hlink>
      <a:folHlink>
        <a:srgbClr val="24337E"/>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My EC Presentation1.potx" id="{3D11BB43-3887-47A7-AAE7-2E2C2CB8B96B}" vid="{08C6B1FF-AFDD-4B4F-9ED5-8EF5EB6B0C8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My EC Presentation</Template>
  <TotalTime>20618</TotalTime>
  <Words>1963</Words>
  <Application>Microsoft Office PowerPoint</Application>
  <PresentationFormat>Widescreen</PresentationFormat>
  <Paragraphs>218</Paragraphs>
  <Slides>16</Slides>
  <Notes>9</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6</vt:i4>
      </vt:variant>
    </vt:vector>
  </HeadingPairs>
  <TitlesOfParts>
    <vt:vector size="24" baseType="lpstr">
      <vt:lpstr>Arial</vt:lpstr>
      <vt:lpstr>Arial Black</vt:lpstr>
      <vt:lpstr>Arial Unicode MS</vt:lpstr>
      <vt:lpstr>Calibri</vt:lpstr>
      <vt:lpstr>Mangal</vt:lpstr>
      <vt:lpstr>Verdana</vt:lpstr>
      <vt:lpstr>Office Theme</vt:lpstr>
      <vt:lpstr>think-cell Slide</vt:lpstr>
      <vt:lpstr>Addressing the paradigm shift   Methodological investment priorities for the medium term</vt:lpstr>
      <vt:lpstr>Outline</vt:lpstr>
      <vt:lpstr>Official Statistics paradigm shift</vt:lpstr>
      <vt:lpstr>Policy Context </vt:lpstr>
      <vt:lpstr>ESS innovation</vt:lpstr>
      <vt:lpstr>EU data economy</vt:lpstr>
      <vt:lpstr>DIGITAL EUROPE  - GovTech </vt:lpstr>
      <vt:lpstr>Drivers for methodological innovation</vt:lpstr>
      <vt:lpstr>Methodological challenges : (1) input </vt:lpstr>
      <vt:lpstr>Methodological challenges : (2) data integration</vt:lpstr>
      <vt:lpstr>Methodological challenges : (3) outputs</vt:lpstr>
      <vt:lpstr>Methodological challenges : (4) quality</vt:lpstr>
      <vt:lpstr>New technologies – new infrastructure</vt:lpstr>
      <vt:lpstr>Eurostat roles</vt:lpstr>
      <vt:lpstr>New partnerships – new forms of collaboration </vt:lpstr>
      <vt:lpstr>Thank you</vt:lpstr>
    </vt:vector>
  </TitlesOfParts>
  <Company>European Commissio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ssues related to  access and use of PHD</dc:title>
  <dc:creator>WIRTHMANN Albrecht (ESTAT)</dc:creator>
  <cp:lastModifiedBy>MUSEUX Jean-Marc (ESTAT)</cp:lastModifiedBy>
  <cp:revision>800</cp:revision>
  <dcterms:created xsi:type="dcterms:W3CDTF">2021-04-13T13:19:17Z</dcterms:created>
  <dcterms:modified xsi:type="dcterms:W3CDTF">2022-03-29T15:04:47Z</dcterms:modified>
</cp:coreProperties>
</file>